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80" r:id="rId2"/>
  </p:sldMasterIdLst>
  <p:notesMasterIdLst>
    <p:notesMasterId r:id="rId6"/>
  </p:notesMasterIdLst>
  <p:sldIdLst>
    <p:sldId id="1472" r:id="rId3"/>
    <p:sldId id="1915" r:id="rId4"/>
    <p:sldId id="1906" r:id="rId5"/>
  </p:sldIdLst>
  <p:sldSz cx="18288000" cy="10287000"/>
  <p:notesSz cx="6858000" cy="9144000"/>
  <p:embeddedFontLst>
    <p:embeddedFont>
      <p:font typeface="Bebas Neue" panose="020B0606020202050201" pitchFamily="34" charset="0"/>
      <p:regular r:id="rId7"/>
    </p:embeddedFont>
    <p:embeddedFont>
      <p:font typeface="Titillium Web Bold" panose="00000800000000000000" charset="0"/>
      <p:regular r:id="rId8"/>
      <p:bold r:id="rId9"/>
    </p:embeddedFont>
  </p:embeddedFontLst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80152" autoAdjust="0"/>
  </p:normalViewPr>
  <p:slideViewPr>
    <p:cSldViewPr>
      <p:cViewPr varScale="1">
        <p:scale>
          <a:sx n="57" d="100"/>
          <a:sy n="57" d="100"/>
        </p:scale>
        <p:origin x="1476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1F931C72-2669-400A-A3BB-86F335B1BE16}"/>
    <pc:docChg chg="delSld modSld delMainMaster">
      <pc:chgData name="Vikesh Chugani" userId="9c759398cfaae00f" providerId="LiveId" clId="{1F931C72-2669-400A-A3BB-86F335B1BE16}" dt="2024-08-26T14:44:49" v="18" actId="47"/>
      <pc:docMkLst>
        <pc:docMk/>
      </pc:docMkLst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0" sldId="256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754354854" sldId="377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527962549" sldId="383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3506657786" sldId="406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208242530" sldId="430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949735749" sldId="431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1705545757" sldId="436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919046105" sldId="437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272160147" sldId="445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1885496752" sldId="474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962720674" sldId="520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32353031" sldId="547"/>
        </pc:sldMkLst>
      </pc:sldChg>
      <pc:sldChg chg="modSp mod modNotesTx">
        <pc:chgData name="Vikesh Chugani" userId="9c759398cfaae00f" providerId="LiveId" clId="{1F931C72-2669-400A-A3BB-86F335B1BE16}" dt="2024-08-26T14:44:40.959" v="15" actId="6549"/>
        <pc:sldMkLst>
          <pc:docMk/>
          <pc:sldMk cId="1363970311" sldId="1472"/>
        </pc:sldMkLst>
        <pc:spChg chg="mod">
          <ac:chgData name="Vikesh Chugani" userId="9c759398cfaae00f" providerId="LiveId" clId="{1F931C72-2669-400A-A3BB-86F335B1BE16}" dt="2024-08-26T14:44:33.768" v="13" actId="20577"/>
          <ac:spMkLst>
            <pc:docMk/>
            <pc:sldMk cId="1363970311" sldId="1472"/>
            <ac:spMk id="9" creationId="{798F5ABF-7D4F-940B-BE3B-7C6C23E76C8D}"/>
          </ac:spMkLst>
        </pc:spChg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1042541821" sldId="1652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4204641025" sldId="1768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190620453" sldId="1819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629802703" sldId="1825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3793681604" sldId="1827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942010989" sldId="1829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427085251" sldId="1830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1406811602" sldId="1831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035558656" sldId="1848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4163091949" sldId="1854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325938766" sldId="1855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140972216" sldId="1857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4189467953" sldId="1858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4163038130" sldId="1882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1772530871" sldId="1886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188383503" sldId="1888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717876491" sldId="1890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2017138224" sldId="1892"/>
        </pc:sldMkLst>
      </pc:sldChg>
      <pc:sldChg chg="del">
        <pc:chgData name="Vikesh Chugani" userId="9c759398cfaae00f" providerId="LiveId" clId="{1F931C72-2669-400A-A3BB-86F335B1BE16}" dt="2024-08-26T14:44:49" v="18" actId="47"/>
        <pc:sldMkLst>
          <pc:docMk/>
          <pc:sldMk cId="1821538331" sldId="1893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1485772295" sldId="1898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1681706587" sldId="1900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889919238" sldId="1904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83805420" sldId="1905"/>
        </pc:sldMkLst>
      </pc:sldChg>
      <pc:sldChg chg="modNotesTx">
        <pc:chgData name="Vikesh Chugani" userId="9c759398cfaae00f" providerId="LiveId" clId="{1F931C72-2669-400A-A3BB-86F335B1BE16}" dt="2024-08-26T14:44:47.764" v="17" actId="20577"/>
        <pc:sldMkLst>
          <pc:docMk/>
          <pc:sldMk cId="2647188042" sldId="1906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3282249227" sldId="1907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1440722758" sldId="1908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884897252" sldId="1909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3365402031" sldId="1911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815284837" sldId="1912"/>
        </pc:sldMkLst>
      </pc:sldChg>
      <pc:sldChg chg="del">
        <pc:chgData name="Vikesh Chugani" userId="9c759398cfaae00f" providerId="LiveId" clId="{1F931C72-2669-400A-A3BB-86F335B1BE16}" dt="2024-08-26T14:44:28.287" v="0" actId="47"/>
        <pc:sldMkLst>
          <pc:docMk/>
          <pc:sldMk cId="3582559601" sldId="1914"/>
        </pc:sldMkLst>
      </pc:sldChg>
      <pc:sldChg chg="modNotesTx">
        <pc:chgData name="Vikesh Chugani" userId="9c759398cfaae00f" providerId="LiveId" clId="{1F931C72-2669-400A-A3BB-86F335B1BE16}" dt="2024-08-26T14:44:44.134" v="16" actId="20577"/>
        <pc:sldMkLst>
          <pc:docMk/>
          <pc:sldMk cId="2059764473" sldId="1915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2521280247" sldId="1916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3237365783" sldId="1918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4210637564" sldId="1919"/>
        </pc:sldMkLst>
      </pc:sldChg>
      <pc:sldChg chg="del">
        <pc:chgData name="Vikesh Chugani" userId="9c759398cfaae00f" providerId="LiveId" clId="{1F931C72-2669-400A-A3BB-86F335B1BE16}" dt="2024-08-26T14:44:38.034" v="14" actId="47"/>
        <pc:sldMkLst>
          <pc:docMk/>
          <pc:sldMk cId="1290931714" sldId="1920"/>
        </pc:sldMkLst>
      </pc:sldChg>
      <pc:sldMasterChg chg="delSldLayout">
        <pc:chgData name="Vikesh Chugani" userId="9c759398cfaae00f" providerId="LiveId" clId="{1F931C72-2669-400A-A3BB-86F335B1BE16}" dt="2024-08-26T14:44:28.287" v="0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1F931C72-2669-400A-A3BB-86F335B1BE16}" dt="2024-08-26T14:44:28.287" v="0" actId="47"/>
          <pc:sldLayoutMkLst>
            <pc:docMk/>
            <pc:sldMasterMk cId="0" sldId="2147483648"/>
            <pc:sldLayoutMk cId="3337062450" sldId="2147483663"/>
          </pc:sldLayoutMkLst>
        </pc:sldLayoutChg>
      </pc:sldMasterChg>
      <pc:sldMasterChg chg="delSldLayout">
        <pc:chgData name="Vikesh Chugani" userId="9c759398cfaae00f" providerId="LiveId" clId="{1F931C72-2669-400A-A3BB-86F335B1BE16}" dt="2024-08-26T14:44:49" v="18" actId="47"/>
        <pc:sldMasterMkLst>
          <pc:docMk/>
          <pc:sldMasterMk cId="3935349751" sldId="2147483680"/>
        </pc:sldMasterMkLst>
        <pc:sldLayoutChg chg="del">
          <pc:chgData name="Vikesh Chugani" userId="9c759398cfaae00f" providerId="LiveId" clId="{1F931C72-2669-400A-A3BB-86F335B1BE16}" dt="2024-08-26T14:44:49" v="18" actId="47"/>
          <pc:sldLayoutMkLst>
            <pc:docMk/>
            <pc:sldMasterMk cId="3935349751" sldId="2147483680"/>
            <pc:sldLayoutMk cId="741991437" sldId="2147483786"/>
          </pc:sldLayoutMkLst>
        </pc:sldLayoutChg>
      </pc:sldMasterChg>
      <pc:sldMasterChg chg="del delSldLayout">
        <pc:chgData name="Vikesh Chugani" userId="9c759398cfaae00f" providerId="LiveId" clId="{1F931C72-2669-400A-A3BB-86F335B1BE16}" dt="2024-08-26T14:44:38.034" v="14" actId="47"/>
        <pc:sldMasterMkLst>
          <pc:docMk/>
          <pc:sldMasterMk cId="3075907825" sldId="2147483702"/>
        </pc:sldMasterMkLst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1011871807" sldId="214748370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1347583845" sldId="214748370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874673133" sldId="214748370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3612991158" sldId="214748370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259269607" sldId="214748370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507021169" sldId="214748370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3647591092" sldId="214748370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668089661" sldId="214748371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55719272" sldId="214748371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180007133" sldId="214748371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414712647" sldId="214748371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522514759" sldId="214748371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1222917550" sldId="214748371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549502026" sldId="214748371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2139078769" sldId="214748371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075907825" sldId="2147483702"/>
            <pc:sldLayoutMk cId="4073762933" sldId="2147483718"/>
          </pc:sldLayoutMkLst>
        </pc:sldLayoutChg>
      </pc:sldMasterChg>
      <pc:sldMasterChg chg="del delSldLayout">
        <pc:chgData name="Vikesh Chugani" userId="9c759398cfaae00f" providerId="LiveId" clId="{1F931C72-2669-400A-A3BB-86F335B1BE16}" dt="2024-08-26T14:44:38.034" v="14" actId="47"/>
        <pc:sldMasterMkLst>
          <pc:docMk/>
          <pc:sldMasterMk cId="1831994636" sldId="2147483719"/>
        </pc:sldMasterMkLst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357688955" sldId="214748372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983086274" sldId="214748372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733324322" sldId="214748372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660303526" sldId="214748372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2456771622" sldId="214748372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555926659" sldId="214748372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635127571" sldId="214748372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04642676" sldId="214748372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550626476" sldId="214748372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16831462" sldId="214748372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201082485" sldId="214748373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497833071" sldId="214748373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442669704" sldId="214748373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3643271523" sldId="214748373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689664876" sldId="214748373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1831994636" sldId="2147483719"/>
            <pc:sldLayoutMk cId="1820530042" sldId="2147483735"/>
          </pc:sldLayoutMkLst>
        </pc:sldLayoutChg>
      </pc:sldMasterChg>
      <pc:sldMasterChg chg="del delSldLayout">
        <pc:chgData name="Vikesh Chugani" userId="9c759398cfaae00f" providerId="LiveId" clId="{1F931C72-2669-400A-A3BB-86F335B1BE16}" dt="2024-08-26T14:44:38.034" v="14" actId="47"/>
        <pc:sldMasterMkLst>
          <pc:docMk/>
          <pc:sldMasterMk cId="2143739592" sldId="2147483736"/>
        </pc:sldMasterMkLst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317608737" sldId="214748373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185018270" sldId="214748373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848429063" sldId="214748373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3491011" sldId="214748374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1707437477" sldId="214748374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4115019894" sldId="214748374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851199305" sldId="214748374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517861477" sldId="214748374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409847318" sldId="214748374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089876123" sldId="214748374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536469137" sldId="214748374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1777211992" sldId="214748374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853332026" sldId="214748374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3130571350" sldId="214748375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630496958" sldId="214748375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2143739592" sldId="2147483736"/>
            <pc:sldLayoutMk cId="2168244376" sldId="2147483752"/>
          </pc:sldLayoutMkLst>
        </pc:sldLayoutChg>
      </pc:sldMasterChg>
      <pc:sldMasterChg chg="del delSldLayout">
        <pc:chgData name="Vikesh Chugani" userId="9c759398cfaae00f" providerId="LiveId" clId="{1F931C72-2669-400A-A3BB-86F335B1BE16}" dt="2024-08-26T14:44:38.034" v="14" actId="47"/>
        <pc:sldMasterMkLst>
          <pc:docMk/>
          <pc:sldMasterMk cId="740412119" sldId="2147483753"/>
        </pc:sldMasterMkLst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3744650268" sldId="214748375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123412623" sldId="214748375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4145140959" sldId="214748375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715097058" sldId="214748375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497658769" sldId="214748375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237219345" sldId="214748375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3676038715" sldId="214748376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2779702364" sldId="214748376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043316254" sldId="214748376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2982898193" sldId="214748376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2448423738" sldId="214748376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524763896" sldId="214748376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2088421829" sldId="214748376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882583338" sldId="214748376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1063544726" sldId="214748376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740412119" sldId="2147483753"/>
            <pc:sldLayoutMk cId="599692115" sldId="2147483769"/>
          </pc:sldLayoutMkLst>
        </pc:sldLayoutChg>
      </pc:sldMasterChg>
      <pc:sldMasterChg chg="del delSldLayout">
        <pc:chgData name="Vikesh Chugani" userId="9c759398cfaae00f" providerId="LiveId" clId="{1F931C72-2669-400A-A3BB-86F335B1BE16}" dt="2024-08-26T14:44:38.034" v="14" actId="47"/>
        <pc:sldMasterMkLst>
          <pc:docMk/>
          <pc:sldMasterMk cId="3940527534" sldId="2147483770"/>
        </pc:sldMasterMkLst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373027986" sldId="214748377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721948069" sldId="214748377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439836345" sldId="214748377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481744291" sldId="214748377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372093996" sldId="2147483775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3991002606" sldId="2147483776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3867997131" sldId="2147483777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3848414587" sldId="2147483778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3750837623" sldId="2147483779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3354371570" sldId="2147483780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58984750" sldId="2147483781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400452218" sldId="2147483782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486958908" sldId="2147483783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2243547009" sldId="2147483784"/>
          </pc:sldLayoutMkLst>
        </pc:sldLayoutChg>
        <pc:sldLayoutChg chg="del">
          <pc:chgData name="Vikesh Chugani" userId="9c759398cfaae00f" providerId="LiveId" clId="{1F931C72-2669-400A-A3BB-86F335B1BE16}" dt="2024-08-26T14:44:38.034" v="14" actId="47"/>
          <pc:sldLayoutMkLst>
            <pc:docMk/>
            <pc:sldMasterMk cId="3940527534" sldId="2147483770"/>
            <pc:sldLayoutMk cId="587762817" sldId="214748378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A65A61-6C11-4F98-934B-0780FDB920F2}" type="datetimeFigureOut">
              <a:rPr lang="en-GB" smtClean="0"/>
              <a:t>26/08/2024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11D2A-5ADF-482B-B5D1-D913F49D011C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367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F57FF-C19F-4C13-8D33-E3160A304BC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597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Aft>
                <a:spcPts val="1000"/>
              </a:spcAft>
              <a:buFont typeface="Symbol" panose="05050102010706020507" pitchFamily="18" charset="2"/>
              <a:buNone/>
            </a:pPr>
            <a:endParaRPr lang="en-GB" sz="1800" kern="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911D2A-5ADF-482B-B5D1-D913F49D011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6048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08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13546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835585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5"/>
            <a:ext cx="18287994" cy="10283276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3113489"/>
            <a:ext cx="15841761" cy="2462062"/>
          </a:xfrm>
        </p:spPr>
        <p:txBody>
          <a:bodyPr anchor="b" anchorCtr="0">
            <a:normAutofit/>
          </a:bodyPr>
          <a:lstStyle>
            <a:lvl1pPr marL="0" indent="0" algn="l" rtl="0">
              <a:lnSpc>
                <a:spcPts val="6248"/>
              </a:lnSpc>
              <a:buFontTx/>
              <a:buNone/>
              <a:defRPr sz="62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en-GB" dirty="0"/>
              <a:t>Headline der </a:t>
            </a:r>
            <a:r>
              <a:rPr lang="en-GB" dirty="0" err="1"/>
              <a:t>Präsentation</a:t>
            </a:r>
            <a:endParaRPr lang="en-GB" dirty="0"/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5575549"/>
            <a:ext cx="15841758" cy="237626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329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Unterzeile</a:t>
            </a:r>
            <a:endParaRPr lang="en-GB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8729" y="138006"/>
            <a:ext cx="2916704" cy="135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48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864"/>
            <a:ext cx="18287998" cy="10283278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4171395"/>
            <a:ext cx="15841761" cy="2462062"/>
          </a:xfrm>
        </p:spPr>
        <p:txBody>
          <a:bodyPr anchor="b" anchorCtr="0">
            <a:normAutofit/>
          </a:bodyPr>
          <a:lstStyle>
            <a:lvl1pPr marL="0" indent="0">
              <a:lnSpc>
                <a:spcPts val="6248"/>
              </a:lnSpc>
              <a:buFontTx/>
              <a:buNone/>
              <a:defRPr sz="74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de-DE" dirty="0"/>
              <a:t>Headline der Präsenta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6736262"/>
            <a:ext cx="15841758" cy="75493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44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utor, Datum</a:t>
            </a:r>
          </a:p>
        </p:txBody>
      </p:sp>
    </p:spTree>
    <p:extLst>
      <p:ext uri="{BB962C8B-B14F-4D97-AF65-F5344CB8AC3E}">
        <p14:creationId xmlns:p14="http://schemas.microsoft.com/office/powerpoint/2010/main" val="235287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5"/>
            <a:ext cx="18287994" cy="10283276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3113489"/>
            <a:ext cx="15841761" cy="2462062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ts val="6248"/>
              </a:lnSpc>
              <a:buFontTx/>
              <a:buNone/>
              <a:defRPr sz="62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de-DE" dirty="0"/>
              <a:t>Headline der Präsentation</a:t>
            </a:r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5575549"/>
            <a:ext cx="15841758" cy="237626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9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zeile</a:t>
            </a:r>
          </a:p>
        </p:txBody>
      </p:sp>
    </p:spTree>
    <p:extLst>
      <p:ext uri="{BB962C8B-B14F-4D97-AF65-F5344CB8AC3E}">
        <p14:creationId xmlns:p14="http://schemas.microsoft.com/office/powerpoint/2010/main" val="148005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1"/>
            <a:ext cx="18287992" cy="10283276"/>
          </a:xfrm>
          <a:prstGeom prst="rect">
            <a:avLst/>
          </a:prstGeom>
        </p:spPr>
      </p:pic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0224260" y="824020"/>
            <a:ext cx="7237338" cy="8636878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 sz="3749" b="1">
                <a:solidFill>
                  <a:schemeClr val="accent1"/>
                </a:solidFill>
              </a:defRPr>
            </a:lvl1pPr>
            <a:lvl2pPr marL="646168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112229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1598416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207454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Überschrift Inhaltsverzeichnis</a:t>
            </a:r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10764390" y="2118821"/>
            <a:ext cx="6157486" cy="6804224"/>
          </a:xfrm>
        </p:spPr>
        <p:txBody>
          <a:bodyPr lIns="0" rIns="0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490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1"/>
            <a:ext cx="18288000" cy="10287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Flächiges Bild</a:t>
            </a: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0224260" y="824020"/>
            <a:ext cx="7237338" cy="8636878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 sz="3749" b="1">
                <a:solidFill>
                  <a:schemeClr val="accent1"/>
                </a:solidFill>
              </a:defRPr>
            </a:lvl1pPr>
            <a:lvl2pPr marL="646168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112229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1598416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207454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Überschrift Inhaltsverzeichnis</a:t>
            </a:r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10764390" y="2118821"/>
            <a:ext cx="6157486" cy="6804224"/>
          </a:xfrm>
        </p:spPr>
        <p:txBody>
          <a:bodyPr lIns="0" rIns="0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605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429436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925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1" y="2700001"/>
            <a:ext cx="9072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9216001" y="2700001"/>
            <a:ext cx="9072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DB26F2E-6C23-4C08-9A94-A5CC9F33AE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82196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90577" y="2700001"/>
            <a:ext cx="8136000" cy="6210001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360000" y="2700001"/>
            <a:ext cx="8101598" cy="6210001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0489EE5-31C1-41D3-9A38-3DEBFE6B35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46532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374318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2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gonal liegende Ecken des Rechtecks abrunden 7"/>
          <p:cNvSpPr/>
          <p:nvPr userDrawn="1"/>
        </p:nvSpPr>
        <p:spPr>
          <a:xfrm>
            <a:off x="9360000" y="2700001"/>
            <a:ext cx="8101598" cy="6210001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237" tIns="81619" rIns="163237" bIns="81619" rtlCol="0" anchor="ctr"/>
          <a:lstStyle/>
          <a:p>
            <a:pPr algn="ctr"/>
            <a:endParaRPr lang="de-DE" sz="2699"/>
          </a:p>
        </p:txBody>
      </p:sp>
      <p:sp>
        <p:nvSpPr>
          <p:cNvPr id="2" name="Diagonal liegende Ecken des Rechtecks abrunden 1"/>
          <p:cNvSpPr/>
          <p:nvPr userDrawn="1"/>
        </p:nvSpPr>
        <p:spPr>
          <a:xfrm>
            <a:off x="791072" y="2700001"/>
            <a:ext cx="8136000" cy="6210001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237" tIns="81619" rIns="163237" bIns="81619" rtlCol="0" anchor="ctr"/>
          <a:lstStyle/>
          <a:p>
            <a:pPr algn="ctr"/>
            <a:endParaRPr lang="de-DE" sz="2699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1152000" y="2970001"/>
            <a:ext cx="7415999" cy="5670000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720001" y="2970001"/>
            <a:ext cx="7415999" cy="5670000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8191BFA1-471A-468F-AEB8-6E9EA2BF88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12842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-1" y="8815058"/>
            <a:ext cx="18288000" cy="1471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699">
              <a:solidFill>
                <a:schemeClr val="bg1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1556978"/>
            <a:ext cx="18288000" cy="8730023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über ganze Breit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10764651" y="5680348"/>
            <a:ext cx="6696947" cy="3780550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accent2"/>
          </a:solidFill>
        </p:spPr>
        <p:txBody>
          <a:bodyPr/>
          <a:lstStyle>
            <a:lvl1pPr marL="514247" indent="-514247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marL="1074708" indent="-428539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1550832" indent="-428539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2026956" indent="-428539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2503080" indent="-428539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0560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90576" y="2700001"/>
            <a:ext cx="8136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360000" y="2700001"/>
            <a:ext cx="8101598" cy="6210001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BCDCC0B3-CEC5-4577-B403-5DB9A40319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137188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(Bild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00204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16"/>
          </p:nvPr>
        </p:nvSpPr>
        <p:spPr>
          <a:xfrm>
            <a:off x="6525382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3" name="Bildplatzhalter 3"/>
          <p:cNvSpPr>
            <a:spLocks noGrp="1"/>
          </p:cNvSpPr>
          <p:nvPr>
            <p:ph type="pic" sz="quarter" idx="17"/>
          </p:nvPr>
        </p:nvSpPr>
        <p:spPr>
          <a:xfrm>
            <a:off x="12250559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800204" y="5683435"/>
            <a:ext cx="5211678" cy="3347597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6525062" y="5683435"/>
            <a:ext cx="5211678" cy="3347597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12249920" y="5683435"/>
            <a:ext cx="5211678" cy="3347597"/>
          </a:xfrm>
        </p:spPr>
        <p:txBody>
          <a:bodyPr>
            <a:normAutofit/>
          </a:bodyPr>
          <a:lstStyle>
            <a:lvl1pPr marL="449882" indent="-449882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87AD2DF-7C56-49EE-83F7-202DDA5C1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29740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90576" y="2700001"/>
            <a:ext cx="16671022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900BB5A-A141-48A8-8142-4FDDA5CDA5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8934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00204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16"/>
          </p:nvPr>
        </p:nvSpPr>
        <p:spPr>
          <a:xfrm>
            <a:off x="5048832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7"/>
          </p:nvPr>
        </p:nvSpPr>
        <p:spPr>
          <a:xfrm>
            <a:off x="9297460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8"/>
          </p:nvPr>
        </p:nvSpPr>
        <p:spPr>
          <a:xfrm>
            <a:off x="13546088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00204" y="6979279"/>
            <a:ext cx="3914727" cy="1849033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049093" y="6979279"/>
            <a:ext cx="3914727" cy="1849033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297982" y="6979279"/>
            <a:ext cx="3914727" cy="1849033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3546871" y="6979279"/>
            <a:ext cx="3914727" cy="1849033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Vor- und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E-Mail</a:t>
            </a:r>
            <a:br>
              <a:rPr lang="de-DE" dirty="0"/>
            </a:b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2A71EA00-671D-47DD-9444-5631E2E8BF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28094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35089" y="1579105"/>
            <a:ext cx="16417824" cy="85040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35089" y="2767236"/>
            <a:ext cx="10657185" cy="6048672"/>
          </a:xfrm>
        </p:spPr>
        <p:txBody>
          <a:bodyPr>
            <a:normAutofit/>
          </a:bodyPr>
          <a:lstStyle>
            <a:lvl1pPr marL="0" indent="0">
              <a:buNone/>
              <a:defRPr sz="2999"/>
            </a:lvl1pPr>
            <a:lvl2pPr marL="685799" indent="0">
              <a:buNone/>
              <a:defRPr sz="2999"/>
            </a:lvl2pPr>
            <a:lvl3pPr marL="1371600" indent="0">
              <a:buNone/>
              <a:defRPr sz="2699"/>
            </a:lvl3pPr>
            <a:lvl4pPr marL="2057399" indent="0">
              <a:buNone/>
              <a:defRPr sz="2699"/>
            </a:lvl4pPr>
            <a:lvl5pPr marL="2743200" indent="0">
              <a:buNone/>
              <a:defRPr sz="2699"/>
            </a:lvl5pPr>
            <a:lvl6pPr>
              <a:defRPr sz="2699"/>
            </a:lvl6pPr>
            <a:lvl7pPr>
              <a:defRPr sz="2699"/>
            </a:lvl7pPr>
            <a:lvl8pPr>
              <a:defRPr sz="2699"/>
            </a:lvl8pPr>
            <a:lvl9pPr>
              <a:defRPr sz="2699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1"/>
          </p:nvPr>
        </p:nvSpPr>
        <p:spPr>
          <a:xfrm>
            <a:off x="12600383" y="2767236"/>
            <a:ext cx="4752529" cy="6048672"/>
          </a:xfrm>
        </p:spPr>
        <p:txBody>
          <a:bodyPr>
            <a:normAutofit/>
          </a:bodyPr>
          <a:lstStyle>
            <a:lvl1pPr marL="0" indent="0">
              <a:buNone/>
              <a:defRPr sz="2999"/>
            </a:lvl1pPr>
            <a:lvl2pPr marL="685799" indent="0">
              <a:buNone/>
              <a:defRPr sz="2999"/>
            </a:lvl2pPr>
            <a:lvl3pPr marL="1371600" indent="0">
              <a:buNone/>
              <a:defRPr sz="2699"/>
            </a:lvl3pPr>
            <a:lvl4pPr>
              <a:defRPr sz="2100"/>
            </a:lvl4pPr>
            <a:lvl5pPr>
              <a:defRPr sz="2100"/>
            </a:lvl5pPr>
            <a:lvl6pPr>
              <a:defRPr sz="2699"/>
            </a:lvl6pPr>
            <a:lvl7pPr>
              <a:defRPr sz="2699"/>
            </a:lvl7pPr>
            <a:lvl8pPr>
              <a:defRPr sz="2699"/>
            </a:lvl8pPr>
            <a:lvl9pPr>
              <a:defRPr sz="2699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BC2915-A1A5-4427-9B51-D318F3072107}" type="datetime1">
              <a:rPr lang="de-DE" smtClean="0"/>
              <a:t>26.08.202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Promotoren Think-Tank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4"/>
          </p:nvPr>
        </p:nvSpPr>
        <p:spPr>
          <a:xfrm>
            <a:off x="15913100" y="9682162"/>
            <a:ext cx="1727200" cy="431008"/>
          </a:xfrm>
        </p:spPr>
        <p:txBody>
          <a:bodyPr/>
          <a:lstStyle>
            <a:lvl1pPr>
              <a:defRPr/>
            </a:lvl1pPr>
          </a:lstStyle>
          <a:p>
            <a:fld id="{76C1B208-9F72-47F1-97B0-6CF785C109BE}" type="slidenum">
              <a:rPr lang="de-DE" altLang="de-DE"/>
              <a:pPr/>
              <a:t>‹Nº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48180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 baseline="0">
                <a:solidFill>
                  <a:srgbClr val="4B4B4B"/>
                </a:solidFill>
                <a:latin typeface="+mj-lt"/>
              </a:defRPr>
            </a:lvl1pPr>
          </a:lstStyle>
          <a:p>
            <a:r>
              <a:rPr lang="de-DE" dirty="0"/>
              <a:t>Überschrift 20p Calibri</a:t>
            </a:r>
          </a:p>
        </p:txBody>
      </p:sp>
    </p:spTree>
    <p:extLst>
      <p:ext uri="{BB962C8B-B14F-4D97-AF65-F5344CB8AC3E}">
        <p14:creationId xmlns:p14="http://schemas.microsoft.com/office/powerpoint/2010/main" val="264415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rtl="0"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 vert="horz" lIns="108850" tIns="54425" rIns="108850" bIns="54425" rtlCol="0">
            <a:noAutofit/>
          </a:bodyPr>
          <a:lstStyle>
            <a:lvl1pPr rtl="0">
              <a:defRPr lang="de-DE" b="1" baseline="0" dirty="0">
                <a:latin typeface="+mn-lt"/>
              </a:defRPr>
            </a:lvl1pPr>
          </a:lstStyle>
          <a:p>
            <a:pPr marL="0" lvl="0" indent="0">
              <a:lnSpc>
                <a:spcPts val="4106"/>
              </a:lnSpc>
              <a:spcBef>
                <a:spcPts val="0"/>
              </a:spcBef>
              <a:buNone/>
            </a:pPr>
            <a:r>
              <a:rPr lang="en-GB" dirty="0" err="1"/>
              <a:t>Grafik</a:t>
            </a:r>
            <a:r>
              <a:rPr lang="en-GB" dirty="0"/>
              <a:t>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1"/>
            <a:ext cx="11378153" cy="1579103"/>
          </a:xfrm>
          <a:prstGeom prst="rect">
            <a:avLst/>
          </a:prstGeom>
        </p:spPr>
        <p:txBody>
          <a:bodyPr vert="horz" lIns="108850" tIns="54425" rIns="108850" bIns="54425" rtlCol="0" anchor="ctr" anchorCtr="0">
            <a:noAutofit/>
          </a:bodyPr>
          <a:lstStyle>
            <a:lvl1pPr rtl="0">
              <a:defRPr lang="de-DE" sz="3749" dirty="0">
                <a:solidFill>
                  <a:srgbClr val="4C4C4C"/>
                </a:solidFill>
                <a:latin typeface="+mj-lt"/>
                <a:ea typeface="+mn-ea"/>
              </a:defRPr>
            </a:lvl1pPr>
          </a:lstStyle>
          <a:p>
            <a:pPr lvl="0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</a:pPr>
            <a:r>
              <a:rPr lang="en-GB" dirty="0" err="1"/>
              <a:t>Überschrift</a:t>
            </a:r>
            <a:r>
              <a:rPr lang="en-GB" dirty="0"/>
              <a:t> 20p Calibri</a:t>
            </a:r>
          </a:p>
        </p:txBody>
      </p:sp>
    </p:spTree>
    <p:extLst>
      <p:ext uri="{BB962C8B-B14F-4D97-AF65-F5344CB8AC3E}">
        <p14:creationId xmlns:p14="http://schemas.microsoft.com/office/powerpoint/2010/main" val="98168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486000"/>
            <a:ext cx="17173575" cy="1687169"/>
          </a:xfrm>
        </p:spPr>
        <p:txBody>
          <a:bodyPr vert="horz"/>
          <a:lstStyle>
            <a:lvl1pPr rtl="0">
              <a:defRPr spc="0" baseline="0"/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2344715"/>
            <a:ext cx="17173575" cy="632138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Formatvorlagen</a:t>
            </a:r>
            <a:r>
              <a:rPr lang="en-GB" noProof="0" dirty="0"/>
              <a:t> des </a:t>
            </a:r>
            <a:r>
              <a:rPr lang="en-GB" noProof="0" dirty="0" err="1"/>
              <a:t>Textmasters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D88C6F8-099A-4D39-8533-B1EEB7F052D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October 2021</a:t>
            </a:r>
            <a:endParaRPr lang="en-GB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F0FEB314-58C6-43FB-BF57-07B357AFA1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63" y="1408178"/>
            <a:ext cx="17173574" cy="764991"/>
          </a:xfrm>
        </p:spPr>
        <p:txBody>
          <a:bodyPr/>
          <a:lstStyle>
            <a:lvl1pPr marL="0" indent="0" rtl="0">
              <a:lnSpc>
                <a:spcPct val="114000"/>
              </a:lnSpc>
              <a:spcAft>
                <a:spcPts val="0"/>
              </a:spcAft>
              <a:buNone/>
              <a:defRPr sz="26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li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581D6B-1739-4E95-A7A3-5B7B04BE533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Page </a:t>
            </a:r>
            <a:fld id="{A52F4D17-1AD6-42D9-B93A-EB002C62F438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6975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7" y="2383"/>
          <a:ext cx="3176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1" imgH="298" progId="TCLayout.ActiveDocument.1">
                  <p:embed/>
                </p:oleObj>
              </mc:Choice>
              <mc:Fallback>
                <p:oleObj name="Diapositiva de think-cell" r:id="rId4" imgW="301" imgH="2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2383"/>
                        <a:ext cx="3176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317500" cy="238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501"/>
              </a:lnSpc>
              <a:spcBef>
                <a:spcPct val="0"/>
              </a:spcBef>
              <a:spcAft>
                <a:spcPct val="0"/>
              </a:spcAft>
            </a:pPr>
            <a:endParaRPr lang="de-DE" sz="3599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0576" y="1576800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083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7" y="2383"/>
          <a:ext cx="3176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1" imgH="298" progId="TCLayout.ActiveDocument.1">
                  <p:embed/>
                </p:oleObj>
              </mc:Choice>
              <mc:Fallback>
                <p:oleObj name="Diapositiva de think-cell" r:id="rId4" imgW="301" imgH="2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2383"/>
                        <a:ext cx="3176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317500" cy="238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501"/>
              </a:lnSpc>
              <a:spcBef>
                <a:spcPct val="0"/>
              </a:spcBef>
              <a:spcAft>
                <a:spcPct val="0"/>
              </a:spcAft>
            </a:pPr>
            <a:endParaRPr lang="de-DE" sz="3599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0576" y="1576800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42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7" y="2383"/>
          <a:ext cx="3176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1" imgH="298" progId="TCLayout.ActiveDocument.1">
                  <p:embed/>
                </p:oleObj>
              </mc:Choice>
              <mc:Fallback>
                <p:oleObj name="Diapositiva de think-cell" r:id="rId4" imgW="301" imgH="2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2383"/>
                        <a:ext cx="3176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317500" cy="238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501"/>
              </a:lnSpc>
              <a:spcBef>
                <a:spcPct val="0"/>
              </a:spcBef>
              <a:spcAft>
                <a:spcPct val="0"/>
              </a:spcAft>
            </a:pPr>
            <a:endParaRPr lang="de-DE" sz="3599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0576" y="1576800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239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8.jpg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5CB4C6F-FD9C-00C6-DC32-0CDAA604C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6480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54" imgH="454" progId="TCLayout.ActiveDocument.1">
                  <p:embed/>
                </p:oleObj>
              </mc:Choice>
              <mc:Fallback>
                <p:oleObj name="Diapositiva de think-cell" r:id="rId16" imgW="454" imgH="4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CB4C6F-FD9C-00C6-DC32-0CDAA604C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45EC0BBF-61F0-C974-130F-FECC91710360}"/>
              </a:ext>
            </a:extLst>
          </p:cNvPr>
          <p:cNvSpPr/>
          <p:nvPr userDrawn="1"/>
        </p:nvSpPr>
        <p:spPr>
          <a:xfrm>
            <a:off x="12221817" y="9040070"/>
            <a:ext cx="5037483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EDE3AF09-CF7B-FB32-AD20-AFD8B32AA2C3}"/>
              </a:ext>
            </a:extLst>
          </p:cNvPr>
          <p:cNvSpPr/>
          <p:nvPr userDrawn="1"/>
        </p:nvSpPr>
        <p:spPr>
          <a:xfrm>
            <a:off x="1028700" y="9040070"/>
            <a:ext cx="2257552" cy="951609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 userDrawn="1">
          <p15:clr>
            <a:srgbClr val="F26B43"/>
          </p15:clr>
        </p15:guide>
        <p15:guide id="2" pos="57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41985044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4" imgW="301" imgH="298" progId="TCLayout.ActiveDocument.1">
                  <p:embed/>
                </p:oleObj>
              </mc:Choice>
              <mc:Fallback>
                <p:oleObj name="Diapositiva de think-cell" r:id="rId2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622" y="1861"/>
            <a:ext cx="18287994" cy="10283276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800204" y="9678954"/>
            <a:ext cx="9640108" cy="608046"/>
          </a:xfrm>
          <a:prstGeom prst="rect">
            <a:avLst/>
          </a:prstGeom>
        </p:spPr>
        <p:txBody>
          <a:bodyPr wrap="square" lIns="0" tIns="0" rIns="163237" bIns="0" rtlCol="0" anchor="ctr">
            <a:noAutofit/>
          </a:bodyPr>
          <a:lstStyle/>
          <a:p>
            <a:pPr marL="0" marR="0" indent="0" algn="l" defTabSz="1632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50" b="1" dirty="0" err="1">
                <a:solidFill>
                  <a:schemeClr val="bg1"/>
                </a:solidFill>
                <a:latin typeface="+mj-lt"/>
              </a:rPr>
              <a:t>Atrineo</a:t>
            </a:r>
            <a:r>
              <a:rPr lang="en-US" sz="1650" b="1" dirty="0">
                <a:solidFill>
                  <a:schemeClr val="bg1"/>
                </a:solidFill>
                <a:latin typeface="+mj-lt"/>
              </a:rPr>
              <a:t> AG</a:t>
            </a:r>
            <a:endParaRPr lang="de-DE" sz="165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5625563" y="9678955"/>
            <a:ext cx="1836035" cy="606182"/>
          </a:xfrm>
          <a:prstGeom prst="rect">
            <a:avLst/>
          </a:prstGeom>
          <a:noFill/>
        </p:spPr>
        <p:txBody>
          <a:bodyPr wrap="square" lIns="163237" tIns="81619" rIns="0" bIns="81619" rtlCol="0" anchor="ctr" anchorCtr="0">
            <a:noAutofit/>
          </a:bodyPr>
          <a:lstStyle/>
          <a:p>
            <a:pPr marL="0" marR="0" indent="0" algn="r" defTabSz="1632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A19CC-7836-44C0-AEF3-DBBA492307BB}" type="slidenum">
              <a:rPr lang="de-DE" sz="1650" b="0" smtClean="0">
                <a:solidFill>
                  <a:schemeClr val="bg1"/>
                </a:solidFill>
                <a:latin typeface="+mj-lt"/>
              </a:rPr>
              <a:pPr marL="0" marR="0" indent="0" algn="r" defTabSz="16324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5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34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marL="0" marR="0" indent="0" algn="l" defTabSz="1632426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sz="3899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23085" indent="-323085" algn="l" defTabSz="1632426" rtl="0" eaLnBrk="1" latinLnBrk="0" hangingPunct="1">
        <a:spcBef>
          <a:spcPct val="20000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1pPr>
      <a:lvl2pPr marL="969253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2pPr>
      <a:lvl3pPr marL="1445378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3pPr>
      <a:lvl4pPr marL="1921501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4pPr>
      <a:lvl5pPr marL="2397626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5pPr>
      <a:lvl6pPr marL="4489172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305385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121598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6937810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1pPr>
      <a:lvl2pPr marL="816213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2pPr>
      <a:lvl3pPr marL="1632426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3pPr>
      <a:lvl4pPr marL="2448640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4pPr>
      <a:lvl5pPr marL="3264853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5pPr>
      <a:lvl6pPr marL="4081065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6pPr>
      <a:lvl7pPr marL="4897278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7pPr>
      <a:lvl8pPr marL="5713491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8pPr>
      <a:lvl9pPr marL="6529704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4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C3AECE-BE98-69AD-880D-228362E985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C3AECE-BE98-69AD-880D-228362E98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6">
            <a:extLst>
              <a:ext uri="{FF2B5EF4-FFF2-40B4-BE49-F238E27FC236}">
                <a16:creationId xmlns:a16="http://schemas.microsoft.com/office/drawing/2014/main" id="{6BBAF6C7-1F85-2733-EF3A-9939467E0E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419"/>
          <a:stretch/>
        </p:blipFill>
        <p:spPr>
          <a:xfrm>
            <a:off x="-4573" y="-1"/>
            <a:ext cx="18289267" cy="10287001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76B4E36-E28E-67AE-7171-75E509D56152}"/>
              </a:ext>
            </a:extLst>
          </p:cNvPr>
          <p:cNvSpPr/>
          <p:nvPr/>
        </p:nvSpPr>
        <p:spPr>
          <a:xfrm>
            <a:off x="-4572" y="-1"/>
            <a:ext cx="18289264" cy="10287001"/>
          </a:xfrm>
          <a:prstGeom prst="rect">
            <a:avLst/>
          </a:prstGeom>
          <a:solidFill>
            <a:srgbClr val="000000">
              <a:alpha val="40000"/>
            </a:srgbClr>
          </a:solidFill>
        </p:spPr>
        <p:txBody>
          <a:bodyPr wrap="square" lIns="1079750" tIns="0" bIns="269938" anchor="ctr" anchorCtr="0">
            <a:noAutofit/>
          </a:bodyPr>
          <a:lstStyle/>
          <a:p>
            <a:endParaRPr lang="en-US" sz="5999" noProof="1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877FC00-37F6-374B-6925-237CF661F7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5298" y="284085"/>
            <a:ext cx="2267727" cy="1075382"/>
          </a:xfrm>
          <a:prstGeom prst="rect">
            <a:avLst/>
          </a:prstGeom>
        </p:spPr>
      </p:pic>
      <p:sp>
        <p:nvSpPr>
          <p:cNvPr id="9" name="Titel 6">
            <a:extLst>
              <a:ext uri="{FF2B5EF4-FFF2-40B4-BE49-F238E27FC236}">
                <a16:creationId xmlns:a16="http://schemas.microsoft.com/office/drawing/2014/main" id="{798F5ABF-7D4F-940B-BE3B-7C6C23E76C8D}"/>
              </a:ext>
            </a:extLst>
          </p:cNvPr>
          <p:cNvSpPr txBox="1">
            <a:spLocks/>
          </p:cNvSpPr>
          <p:nvPr/>
        </p:nvSpPr>
        <p:spPr>
          <a:xfrm>
            <a:off x="3308" y="5899409"/>
            <a:ext cx="18281385" cy="2339276"/>
          </a:xfrm>
          <a:prstGeom prst="rect">
            <a:avLst/>
          </a:prstGeom>
          <a:solidFill>
            <a:schemeClr val="accent1">
              <a:lumMod val="60000"/>
              <a:lumOff val="40000"/>
              <a:alpha val="60000"/>
            </a:schemeClr>
          </a:solidFill>
        </p:spPr>
        <p:txBody>
          <a:bodyPr vert="horz" lIns="863800" tIns="269938" rIns="539875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71326">
              <a:defRPr/>
            </a:pPr>
            <a:r>
              <a:rPr lang="en-US" sz="8098" b="1" dirty="0">
                <a:latin typeface="+mn-lt"/>
                <a:cs typeface="Calibri Light" panose="020F0302020204030204" pitchFamily="34" charset="0"/>
              </a:rPr>
              <a:t>Practice market niche</a:t>
            </a:r>
          </a:p>
        </p:txBody>
      </p:sp>
    </p:spTree>
    <p:extLst>
      <p:ext uri="{BB962C8B-B14F-4D97-AF65-F5344CB8AC3E}">
        <p14:creationId xmlns:p14="http://schemas.microsoft.com/office/powerpoint/2010/main" val="136397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BA2BF27-A14F-B11A-541B-A39922A47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</a:rPr>
              <a:t>The key for every innovation project is the fitness of the solution and their use cases for the application area (e.g. industrial field) 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718F2C8-B271-D0CA-ED89-3B2C444351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eps towards application areas outside academia</a:t>
            </a:r>
            <a:endParaRPr lang="de-DE" dirty="0"/>
          </a:p>
        </p:txBody>
      </p:sp>
      <p:grpSp>
        <p:nvGrpSpPr>
          <p:cNvPr id="45" name="Gruppieren 86">
            <a:extLst>
              <a:ext uri="{FF2B5EF4-FFF2-40B4-BE49-F238E27FC236}">
                <a16:creationId xmlns:a16="http://schemas.microsoft.com/office/drawing/2014/main" id="{286E6894-14F6-861C-B32F-93BAA76E8D12}"/>
              </a:ext>
            </a:extLst>
          </p:cNvPr>
          <p:cNvGrpSpPr/>
          <p:nvPr/>
        </p:nvGrpSpPr>
        <p:grpSpPr>
          <a:xfrm>
            <a:off x="849880" y="3307721"/>
            <a:ext cx="16708790" cy="4417955"/>
            <a:chOff x="564513" y="1428411"/>
            <a:chExt cx="11141772" cy="2945985"/>
          </a:xfrm>
        </p:grpSpPr>
        <p:cxnSp>
          <p:nvCxnSpPr>
            <p:cNvPr id="46" name="Gerade Verbindung mit Pfeil 89">
              <a:extLst>
                <a:ext uri="{FF2B5EF4-FFF2-40B4-BE49-F238E27FC236}">
                  <a16:creationId xmlns:a16="http://schemas.microsoft.com/office/drawing/2014/main" id="{A1500766-90AF-FAA4-CFB7-2529D1C8127E}"/>
                </a:ext>
              </a:extLst>
            </p:cNvPr>
            <p:cNvCxnSpPr>
              <a:stCxn id="77" idx="0"/>
              <a:endCxn id="73" idx="3"/>
            </p:cNvCxnSpPr>
            <p:nvPr/>
          </p:nvCxnSpPr>
          <p:spPr>
            <a:xfrm flipV="1">
              <a:off x="2114204" y="2308719"/>
              <a:ext cx="1472195" cy="2000"/>
            </a:xfrm>
            <a:prstGeom prst="straightConnector1">
              <a:avLst/>
            </a:prstGeom>
            <a:noFill/>
            <a:ln w="38100" cap="flat" cmpd="sng" algn="ctr">
              <a:solidFill>
                <a:srgbClr val="023D6B"/>
              </a:solidFill>
              <a:prstDash val="solid"/>
              <a:tailEnd type="triangle"/>
            </a:ln>
            <a:effectLst/>
          </p:spPr>
        </p:cxnSp>
        <p:cxnSp>
          <p:nvCxnSpPr>
            <p:cNvPr id="47" name="Gerade Verbindung mit Pfeil 91">
              <a:extLst>
                <a:ext uri="{FF2B5EF4-FFF2-40B4-BE49-F238E27FC236}">
                  <a16:creationId xmlns:a16="http://schemas.microsoft.com/office/drawing/2014/main" id="{52F31755-593B-3D81-8DD3-4889FF63E502}"/>
                </a:ext>
              </a:extLst>
            </p:cNvPr>
            <p:cNvCxnSpPr>
              <a:stCxn id="73" idx="0"/>
              <a:endCxn id="56" idx="3"/>
            </p:cNvCxnSpPr>
            <p:nvPr/>
          </p:nvCxnSpPr>
          <p:spPr>
            <a:xfrm flipV="1">
              <a:off x="5136090" y="2295686"/>
              <a:ext cx="1812424" cy="13033"/>
            </a:xfrm>
            <a:prstGeom prst="straightConnector1">
              <a:avLst/>
            </a:prstGeom>
            <a:noFill/>
            <a:ln w="38100" cap="flat" cmpd="sng" algn="ctr">
              <a:solidFill>
                <a:srgbClr val="023D6B"/>
              </a:solidFill>
              <a:prstDash val="solid"/>
              <a:tailEnd type="triangle"/>
            </a:ln>
            <a:effectLst/>
          </p:spPr>
        </p:cxnSp>
        <p:cxnSp>
          <p:nvCxnSpPr>
            <p:cNvPr id="48" name="Gerade Verbindung mit Pfeil 92">
              <a:extLst>
                <a:ext uri="{FF2B5EF4-FFF2-40B4-BE49-F238E27FC236}">
                  <a16:creationId xmlns:a16="http://schemas.microsoft.com/office/drawing/2014/main" id="{EE2ED06D-7C6B-58E7-DF46-EACDB98A7DE8}"/>
                </a:ext>
              </a:extLst>
            </p:cNvPr>
            <p:cNvCxnSpPr>
              <a:stCxn id="56" idx="0"/>
              <a:endCxn id="67" idx="3"/>
            </p:cNvCxnSpPr>
            <p:nvPr/>
          </p:nvCxnSpPr>
          <p:spPr>
            <a:xfrm flipV="1">
              <a:off x="8498205" y="2282356"/>
              <a:ext cx="1520712" cy="13330"/>
            </a:xfrm>
            <a:prstGeom prst="straightConnector1">
              <a:avLst/>
            </a:prstGeom>
            <a:noFill/>
            <a:ln w="38100" cap="flat" cmpd="sng" algn="ctr">
              <a:solidFill>
                <a:srgbClr val="023D6B"/>
              </a:solidFill>
              <a:prstDash val="solid"/>
              <a:tailEnd type="triangle"/>
            </a:ln>
            <a:effectLst/>
          </p:spPr>
        </p:cxnSp>
        <p:grpSp>
          <p:nvGrpSpPr>
            <p:cNvPr id="49" name="Gruppieren 93">
              <a:extLst>
                <a:ext uri="{FF2B5EF4-FFF2-40B4-BE49-F238E27FC236}">
                  <a16:creationId xmlns:a16="http://schemas.microsoft.com/office/drawing/2014/main" id="{EEC2788C-E9F7-FC71-7E91-11E659D06B4A}"/>
                </a:ext>
              </a:extLst>
            </p:cNvPr>
            <p:cNvGrpSpPr/>
            <p:nvPr/>
          </p:nvGrpSpPr>
          <p:grpSpPr>
            <a:xfrm>
              <a:off x="564513" y="1439488"/>
              <a:ext cx="1549691" cy="2934908"/>
              <a:chOff x="564513" y="1439488"/>
              <a:chExt cx="1549691" cy="2934908"/>
            </a:xfrm>
          </p:grpSpPr>
          <p:sp>
            <p:nvSpPr>
              <p:cNvPr id="75" name="Textfeld 196">
                <a:extLst>
                  <a:ext uri="{FF2B5EF4-FFF2-40B4-BE49-F238E27FC236}">
                    <a16:creationId xmlns:a16="http://schemas.microsoft.com/office/drawing/2014/main" id="{240BD181-6C69-9056-AF9D-002DB42C8DC1}"/>
                  </a:ext>
                </a:extLst>
              </p:cNvPr>
              <p:cNvSpPr txBox="1"/>
              <p:nvPr/>
            </p:nvSpPr>
            <p:spPr>
              <a:xfrm>
                <a:off x="564513" y="4005064"/>
                <a:ext cx="15496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3713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9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rPr>
                  <a:t>Use cases</a:t>
                </a:r>
              </a:p>
            </p:txBody>
          </p:sp>
          <p:grpSp>
            <p:nvGrpSpPr>
              <p:cNvPr id="76" name="Gruppieren 197">
                <a:extLst>
                  <a:ext uri="{FF2B5EF4-FFF2-40B4-BE49-F238E27FC236}">
                    <a16:creationId xmlns:a16="http://schemas.microsoft.com/office/drawing/2014/main" id="{F9BF30A3-BCD0-2351-3785-06BE8ACB14D2}"/>
                  </a:ext>
                </a:extLst>
              </p:cNvPr>
              <p:cNvGrpSpPr/>
              <p:nvPr/>
            </p:nvGrpSpPr>
            <p:grpSpPr>
              <a:xfrm>
                <a:off x="564513" y="1439488"/>
                <a:ext cx="1549691" cy="1539203"/>
                <a:chOff x="564513" y="1439488"/>
                <a:chExt cx="1549691" cy="1539203"/>
              </a:xfrm>
            </p:grpSpPr>
            <p:sp>
              <p:nvSpPr>
                <p:cNvPr id="77" name="Sechseck 198">
                  <a:extLst>
                    <a:ext uri="{FF2B5EF4-FFF2-40B4-BE49-F238E27FC236}">
                      <a16:creationId xmlns:a16="http://schemas.microsoft.com/office/drawing/2014/main" id="{C98ABD80-42AA-B2FE-3FE9-90C15125CA5E}"/>
                    </a:ext>
                  </a:extLst>
                </p:cNvPr>
                <p:cNvSpPr/>
                <p:nvPr/>
              </p:nvSpPr>
              <p:spPr>
                <a:xfrm>
                  <a:off x="564513" y="1642747"/>
                  <a:ext cx="1549691" cy="1335944"/>
                </a:xfrm>
                <a:prstGeom prst="hexagon">
                  <a:avLst/>
                </a:prstGeom>
                <a:solidFill>
                  <a:srgbClr val="FFFFFF"/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78" name="LINE ICON - paper 3">
                  <a:extLst>
                    <a:ext uri="{FF2B5EF4-FFF2-40B4-BE49-F238E27FC236}">
                      <a16:creationId xmlns:a16="http://schemas.microsoft.com/office/drawing/2014/main" id="{7AA5C7FB-F088-8226-2670-807AB3CAD82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1045550" y="1937810"/>
                  <a:ext cx="798932" cy="770241"/>
                  <a:chOff x="1648266" y="2105110"/>
                  <a:chExt cx="381873" cy="368159"/>
                </a:xfrm>
                <a:solidFill>
                  <a:srgbClr val="023D6B"/>
                </a:solidFill>
              </p:grpSpPr>
              <p:sp>
                <p:nvSpPr>
                  <p:cNvPr id="80" name="Freeform 403">
                    <a:extLst>
                      <a:ext uri="{FF2B5EF4-FFF2-40B4-BE49-F238E27FC236}">
                        <a16:creationId xmlns:a16="http://schemas.microsoft.com/office/drawing/2014/main" id="{6A1925A5-EC9F-B996-38C9-D921A98BDB1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648266" y="2105110"/>
                    <a:ext cx="341448" cy="368159"/>
                  </a:xfrm>
                  <a:custGeom>
                    <a:avLst/>
                    <a:gdLst>
                      <a:gd name="T0" fmla="*/ 183 w 200"/>
                      <a:gd name="T1" fmla="*/ 29 h 216"/>
                      <a:gd name="T2" fmla="*/ 177 w 200"/>
                      <a:gd name="T3" fmla="*/ 29 h 216"/>
                      <a:gd name="T4" fmla="*/ 164 w 200"/>
                      <a:gd name="T5" fmla="*/ 42 h 216"/>
                      <a:gd name="T6" fmla="*/ 164 w 200"/>
                      <a:gd name="T7" fmla="*/ 0 h 216"/>
                      <a:gd name="T8" fmla="*/ 0 w 200"/>
                      <a:gd name="T9" fmla="*/ 0 h 216"/>
                      <a:gd name="T10" fmla="*/ 0 w 200"/>
                      <a:gd name="T11" fmla="*/ 216 h 216"/>
                      <a:gd name="T12" fmla="*/ 164 w 200"/>
                      <a:gd name="T13" fmla="*/ 216 h 216"/>
                      <a:gd name="T14" fmla="*/ 164 w 200"/>
                      <a:gd name="T15" fmla="*/ 86 h 216"/>
                      <a:gd name="T16" fmla="*/ 199 w 200"/>
                      <a:gd name="T17" fmla="*/ 51 h 216"/>
                      <a:gd name="T18" fmla="*/ 199 w 200"/>
                      <a:gd name="T19" fmla="*/ 45 h 216"/>
                      <a:gd name="T20" fmla="*/ 183 w 200"/>
                      <a:gd name="T21" fmla="*/ 29 h 216"/>
                      <a:gd name="T22" fmla="*/ 156 w 200"/>
                      <a:gd name="T23" fmla="*/ 208 h 216"/>
                      <a:gd name="T24" fmla="*/ 8 w 200"/>
                      <a:gd name="T25" fmla="*/ 208 h 216"/>
                      <a:gd name="T26" fmla="*/ 8 w 200"/>
                      <a:gd name="T27" fmla="*/ 8 h 216"/>
                      <a:gd name="T28" fmla="*/ 156 w 200"/>
                      <a:gd name="T29" fmla="*/ 8 h 216"/>
                      <a:gd name="T30" fmla="*/ 156 w 200"/>
                      <a:gd name="T31" fmla="*/ 49 h 216"/>
                      <a:gd name="T32" fmla="*/ 89 w 200"/>
                      <a:gd name="T33" fmla="*/ 113 h 216"/>
                      <a:gd name="T34" fmla="*/ 88 w 200"/>
                      <a:gd name="T35" fmla="*/ 115 h 216"/>
                      <a:gd name="T36" fmla="*/ 76 w 200"/>
                      <a:gd name="T37" fmla="*/ 147 h 216"/>
                      <a:gd name="T38" fmla="*/ 77 w 200"/>
                      <a:gd name="T39" fmla="*/ 151 h 216"/>
                      <a:gd name="T40" fmla="*/ 80 w 200"/>
                      <a:gd name="T41" fmla="*/ 152 h 216"/>
                      <a:gd name="T42" fmla="*/ 82 w 200"/>
                      <a:gd name="T43" fmla="*/ 152 h 216"/>
                      <a:gd name="T44" fmla="*/ 114 w 200"/>
                      <a:gd name="T45" fmla="*/ 136 h 216"/>
                      <a:gd name="T46" fmla="*/ 115 w 200"/>
                      <a:gd name="T47" fmla="*/ 135 h 216"/>
                      <a:gd name="T48" fmla="*/ 156 w 200"/>
                      <a:gd name="T49" fmla="*/ 94 h 216"/>
                      <a:gd name="T50" fmla="*/ 156 w 200"/>
                      <a:gd name="T51" fmla="*/ 208 h 216"/>
                      <a:gd name="T52" fmla="*/ 110 w 200"/>
                      <a:gd name="T53" fmla="*/ 129 h 216"/>
                      <a:gd name="T54" fmla="*/ 100 w 200"/>
                      <a:gd name="T55" fmla="*/ 134 h 216"/>
                      <a:gd name="T56" fmla="*/ 92 w 200"/>
                      <a:gd name="T57" fmla="*/ 126 h 216"/>
                      <a:gd name="T58" fmla="*/ 95 w 200"/>
                      <a:gd name="T59" fmla="*/ 118 h 216"/>
                      <a:gd name="T60" fmla="*/ 180 w 200"/>
                      <a:gd name="T61" fmla="*/ 38 h 216"/>
                      <a:gd name="T62" fmla="*/ 190 w 200"/>
                      <a:gd name="T63" fmla="*/ 48 h 216"/>
                      <a:gd name="T64" fmla="*/ 110 w 200"/>
                      <a:gd name="T65" fmla="*/ 129 h 2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200" h="216">
                        <a:moveTo>
                          <a:pt x="183" y="29"/>
                        </a:moveTo>
                        <a:cubicBezTo>
                          <a:pt x="181" y="28"/>
                          <a:pt x="179" y="28"/>
                          <a:pt x="177" y="29"/>
                        </a:cubicBezTo>
                        <a:cubicBezTo>
                          <a:pt x="164" y="42"/>
                          <a:pt x="164" y="42"/>
                          <a:pt x="164" y="42"/>
                        </a:cubicBezTo>
                        <a:cubicBezTo>
                          <a:pt x="164" y="0"/>
                          <a:pt x="164" y="0"/>
                          <a:pt x="164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216"/>
                          <a:pt x="0" y="216"/>
                          <a:pt x="0" y="216"/>
                        </a:cubicBezTo>
                        <a:cubicBezTo>
                          <a:pt x="164" y="216"/>
                          <a:pt x="164" y="216"/>
                          <a:pt x="164" y="216"/>
                        </a:cubicBezTo>
                        <a:cubicBezTo>
                          <a:pt x="164" y="86"/>
                          <a:pt x="164" y="86"/>
                          <a:pt x="164" y="86"/>
                        </a:cubicBezTo>
                        <a:cubicBezTo>
                          <a:pt x="199" y="51"/>
                          <a:pt x="199" y="51"/>
                          <a:pt x="199" y="51"/>
                        </a:cubicBezTo>
                        <a:cubicBezTo>
                          <a:pt x="200" y="49"/>
                          <a:pt x="200" y="47"/>
                          <a:pt x="199" y="45"/>
                        </a:cubicBezTo>
                        <a:lnTo>
                          <a:pt x="183" y="29"/>
                        </a:lnTo>
                        <a:close/>
                        <a:moveTo>
                          <a:pt x="156" y="208"/>
                        </a:moveTo>
                        <a:cubicBezTo>
                          <a:pt x="8" y="208"/>
                          <a:pt x="8" y="208"/>
                          <a:pt x="8" y="208"/>
                        </a:cubicBezTo>
                        <a:cubicBezTo>
                          <a:pt x="8" y="8"/>
                          <a:pt x="8" y="8"/>
                          <a:pt x="8" y="8"/>
                        </a:cubicBezTo>
                        <a:cubicBezTo>
                          <a:pt x="156" y="8"/>
                          <a:pt x="156" y="8"/>
                          <a:pt x="156" y="8"/>
                        </a:cubicBezTo>
                        <a:cubicBezTo>
                          <a:pt x="156" y="49"/>
                          <a:pt x="156" y="49"/>
                          <a:pt x="156" y="49"/>
                        </a:cubicBezTo>
                        <a:cubicBezTo>
                          <a:pt x="89" y="113"/>
                          <a:pt x="89" y="113"/>
                          <a:pt x="89" y="113"/>
                        </a:cubicBezTo>
                        <a:cubicBezTo>
                          <a:pt x="89" y="114"/>
                          <a:pt x="88" y="114"/>
                          <a:pt x="88" y="115"/>
                        </a:cubicBezTo>
                        <a:cubicBezTo>
                          <a:pt x="76" y="147"/>
                          <a:pt x="76" y="147"/>
                          <a:pt x="76" y="147"/>
                        </a:cubicBezTo>
                        <a:cubicBezTo>
                          <a:pt x="76" y="148"/>
                          <a:pt x="76" y="150"/>
                          <a:pt x="77" y="151"/>
                        </a:cubicBezTo>
                        <a:cubicBezTo>
                          <a:pt x="78" y="152"/>
                          <a:pt x="79" y="152"/>
                          <a:pt x="80" y="152"/>
                        </a:cubicBezTo>
                        <a:cubicBezTo>
                          <a:pt x="81" y="152"/>
                          <a:pt x="81" y="152"/>
                          <a:pt x="82" y="152"/>
                        </a:cubicBezTo>
                        <a:cubicBezTo>
                          <a:pt x="114" y="136"/>
                          <a:pt x="114" y="136"/>
                          <a:pt x="114" y="136"/>
                        </a:cubicBezTo>
                        <a:cubicBezTo>
                          <a:pt x="114" y="135"/>
                          <a:pt x="115" y="135"/>
                          <a:pt x="115" y="135"/>
                        </a:cubicBezTo>
                        <a:cubicBezTo>
                          <a:pt x="156" y="94"/>
                          <a:pt x="156" y="94"/>
                          <a:pt x="156" y="94"/>
                        </a:cubicBezTo>
                        <a:lnTo>
                          <a:pt x="156" y="208"/>
                        </a:lnTo>
                        <a:close/>
                        <a:moveTo>
                          <a:pt x="110" y="129"/>
                        </a:moveTo>
                        <a:cubicBezTo>
                          <a:pt x="100" y="134"/>
                          <a:pt x="100" y="134"/>
                          <a:pt x="100" y="134"/>
                        </a:cubicBezTo>
                        <a:cubicBezTo>
                          <a:pt x="92" y="126"/>
                          <a:pt x="92" y="126"/>
                          <a:pt x="92" y="126"/>
                        </a:cubicBezTo>
                        <a:cubicBezTo>
                          <a:pt x="95" y="118"/>
                          <a:pt x="95" y="118"/>
                          <a:pt x="95" y="118"/>
                        </a:cubicBezTo>
                        <a:cubicBezTo>
                          <a:pt x="180" y="38"/>
                          <a:pt x="180" y="38"/>
                          <a:pt x="180" y="38"/>
                        </a:cubicBezTo>
                        <a:cubicBezTo>
                          <a:pt x="190" y="48"/>
                          <a:pt x="190" y="48"/>
                          <a:pt x="190" y="48"/>
                        </a:cubicBezTo>
                        <a:lnTo>
                          <a:pt x="110" y="12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37128" tIns="68564" rIns="137128" bIns="6856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37132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149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B4B4B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81" name="Freeform 404">
                    <a:extLst>
                      <a:ext uri="{FF2B5EF4-FFF2-40B4-BE49-F238E27FC236}">
                        <a16:creationId xmlns:a16="http://schemas.microsoft.com/office/drawing/2014/main" id="{AF069AAA-16FA-B39F-1FAA-96FDE3BFE8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965892" y="2111607"/>
                    <a:ext cx="64247" cy="64969"/>
                  </a:xfrm>
                  <a:custGeom>
                    <a:avLst/>
                    <a:gdLst>
                      <a:gd name="T0" fmla="*/ 18 w 38"/>
                      <a:gd name="T1" fmla="*/ 0 h 38"/>
                      <a:gd name="T2" fmla="*/ 16 w 38"/>
                      <a:gd name="T3" fmla="*/ 0 h 38"/>
                      <a:gd name="T4" fmla="*/ 0 w 38"/>
                      <a:gd name="T5" fmla="*/ 16 h 38"/>
                      <a:gd name="T6" fmla="*/ 22 w 38"/>
                      <a:gd name="T7" fmla="*/ 38 h 38"/>
                      <a:gd name="T8" fmla="*/ 38 w 38"/>
                      <a:gd name="T9" fmla="*/ 22 h 38"/>
                      <a:gd name="T10" fmla="*/ 38 w 38"/>
                      <a:gd name="T11" fmla="*/ 20 h 38"/>
                      <a:gd name="T12" fmla="*/ 18 w 38"/>
                      <a:gd name="T13" fmla="*/ 0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8" h="38">
                        <a:moveTo>
                          <a:pt x="18" y="0"/>
                        </a:move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22" y="38"/>
                          <a:pt x="22" y="38"/>
                          <a:pt x="22" y="38"/>
                        </a:cubicBezTo>
                        <a:cubicBezTo>
                          <a:pt x="38" y="22"/>
                          <a:pt x="38" y="22"/>
                          <a:pt x="38" y="22"/>
                        </a:cubicBezTo>
                        <a:cubicBezTo>
                          <a:pt x="38" y="20"/>
                          <a:pt x="38" y="20"/>
                          <a:pt x="38" y="20"/>
                        </a:cubicBezTo>
                        <a:cubicBezTo>
                          <a:pt x="38" y="4"/>
                          <a:pt x="25" y="0"/>
                          <a:pt x="18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37128" tIns="68564" rIns="137128" bIns="6856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37132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149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B4B4B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79" name="Ellipse 200">
                  <a:extLst>
                    <a:ext uri="{FF2B5EF4-FFF2-40B4-BE49-F238E27FC236}">
                      <a16:creationId xmlns:a16="http://schemas.microsoft.com/office/drawing/2014/main" id="{3AC202BC-452D-EFA1-ED68-2506FC6830AC}"/>
                    </a:ext>
                  </a:extLst>
                </p:cNvPr>
                <p:cNvSpPr/>
                <p:nvPr/>
              </p:nvSpPr>
              <p:spPr>
                <a:xfrm>
                  <a:off x="740488" y="1439488"/>
                  <a:ext cx="399377" cy="413840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878787">
                          <a:lumMod val="50000"/>
                        </a:srgbClr>
                      </a:solidFill>
                      <a:effectLst/>
                      <a:uLnTx/>
                      <a:uFillTx/>
                    </a:rPr>
                    <a:t>1</a:t>
                  </a:r>
                </a:p>
              </p:txBody>
            </p:sp>
          </p:grpSp>
        </p:grpSp>
        <p:grpSp>
          <p:nvGrpSpPr>
            <p:cNvPr id="50" name="Gruppieren 94">
              <a:extLst>
                <a:ext uri="{FF2B5EF4-FFF2-40B4-BE49-F238E27FC236}">
                  <a16:creationId xmlns:a16="http://schemas.microsoft.com/office/drawing/2014/main" id="{5B119336-6102-1EFB-09E3-9EECD45BE3BE}"/>
                </a:ext>
              </a:extLst>
            </p:cNvPr>
            <p:cNvGrpSpPr/>
            <p:nvPr/>
          </p:nvGrpSpPr>
          <p:grpSpPr>
            <a:xfrm>
              <a:off x="3465704" y="1439488"/>
              <a:ext cx="1805492" cy="2934908"/>
              <a:chOff x="2890410" y="1439488"/>
              <a:chExt cx="1805492" cy="2934908"/>
            </a:xfrm>
          </p:grpSpPr>
          <p:sp>
            <p:nvSpPr>
              <p:cNvPr id="70" name="Textfeld 190">
                <a:extLst>
                  <a:ext uri="{FF2B5EF4-FFF2-40B4-BE49-F238E27FC236}">
                    <a16:creationId xmlns:a16="http://schemas.microsoft.com/office/drawing/2014/main" id="{1A89F604-B152-7FBA-6E77-F6955EED8BC8}"/>
                  </a:ext>
                </a:extLst>
              </p:cNvPr>
              <p:cNvSpPr txBox="1"/>
              <p:nvPr/>
            </p:nvSpPr>
            <p:spPr>
              <a:xfrm>
                <a:off x="2890410" y="4005064"/>
                <a:ext cx="180549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3713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9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rPr>
                  <a:t>Application</a:t>
                </a:r>
              </a:p>
            </p:txBody>
          </p:sp>
          <p:grpSp>
            <p:nvGrpSpPr>
              <p:cNvPr id="71" name="Gruppieren 191">
                <a:extLst>
                  <a:ext uri="{FF2B5EF4-FFF2-40B4-BE49-F238E27FC236}">
                    <a16:creationId xmlns:a16="http://schemas.microsoft.com/office/drawing/2014/main" id="{0C6A5EFF-890E-3DEF-5C18-67C758F222A6}"/>
                  </a:ext>
                </a:extLst>
              </p:cNvPr>
              <p:cNvGrpSpPr/>
              <p:nvPr/>
            </p:nvGrpSpPr>
            <p:grpSpPr>
              <a:xfrm>
                <a:off x="3011105" y="1439488"/>
                <a:ext cx="1549691" cy="1783243"/>
                <a:chOff x="2949807" y="1439488"/>
                <a:chExt cx="1549691" cy="1783243"/>
              </a:xfrm>
            </p:grpSpPr>
            <p:sp>
              <p:nvSpPr>
                <p:cNvPr id="72" name="Sechseck 192">
                  <a:extLst>
                    <a:ext uri="{FF2B5EF4-FFF2-40B4-BE49-F238E27FC236}">
                      <a16:creationId xmlns:a16="http://schemas.microsoft.com/office/drawing/2014/main" id="{E8272101-9515-5074-086B-C1E12645A809}"/>
                    </a:ext>
                  </a:extLst>
                </p:cNvPr>
                <p:cNvSpPr/>
                <p:nvPr/>
              </p:nvSpPr>
              <p:spPr>
                <a:xfrm>
                  <a:off x="2949807" y="1886787"/>
                  <a:ext cx="1549691" cy="1335944"/>
                </a:xfrm>
                <a:prstGeom prst="hexagon">
                  <a:avLst/>
                </a:prstGeom>
                <a:solidFill>
                  <a:srgbClr val="878787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3" name="Sechseck 193">
                  <a:extLst>
                    <a:ext uri="{FF2B5EF4-FFF2-40B4-BE49-F238E27FC236}">
                      <a16:creationId xmlns:a16="http://schemas.microsoft.com/office/drawing/2014/main" id="{894C3398-6E44-CBF1-2739-91361DA7A598}"/>
                    </a:ext>
                  </a:extLst>
                </p:cNvPr>
                <p:cNvSpPr/>
                <p:nvPr/>
              </p:nvSpPr>
              <p:spPr>
                <a:xfrm>
                  <a:off x="2949807" y="1640747"/>
                  <a:ext cx="1549691" cy="1335944"/>
                </a:xfrm>
                <a:prstGeom prst="hexagon">
                  <a:avLst/>
                </a:prstGeom>
                <a:solidFill>
                  <a:srgbClr val="FFFFFF"/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" name="Ellipse 194">
                  <a:extLst>
                    <a:ext uri="{FF2B5EF4-FFF2-40B4-BE49-F238E27FC236}">
                      <a16:creationId xmlns:a16="http://schemas.microsoft.com/office/drawing/2014/main" id="{F3603C23-5F8C-7E0E-000D-55C37F092ABA}"/>
                    </a:ext>
                  </a:extLst>
                </p:cNvPr>
                <p:cNvSpPr/>
                <p:nvPr/>
              </p:nvSpPr>
              <p:spPr>
                <a:xfrm>
                  <a:off x="3092962" y="1439488"/>
                  <a:ext cx="399377" cy="413840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878787">
                          <a:lumMod val="50000"/>
                        </a:srgbClr>
                      </a:solidFill>
                      <a:effectLst/>
                      <a:uLnTx/>
                      <a:uFillTx/>
                    </a:rPr>
                    <a:t>2</a:t>
                  </a:r>
                </a:p>
              </p:txBody>
            </p:sp>
          </p:grpSp>
        </p:grpSp>
        <p:grpSp>
          <p:nvGrpSpPr>
            <p:cNvPr id="51" name="Gruppieren 95">
              <a:extLst>
                <a:ext uri="{FF2B5EF4-FFF2-40B4-BE49-F238E27FC236}">
                  <a16:creationId xmlns:a16="http://schemas.microsoft.com/office/drawing/2014/main" id="{879F356E-AB9A-F197-BDBC-354055FB0284}"/>
                </a:ext>
              </a:extLst>
            </p:cNvPr>
            <p:cNvGrpSpPr/>
            <p:nvPr/>
          </p:nvGrpSpPr>
          <p:grpSpPr>
            <a:xfrm>
              <a:off x="10018917" y="1428411"/>
              <a:ext cx="1687368" cy="2945985"/>
              <a:chOff x="10018917" y="1428411"/>
              <a:chExt cx="1687368" cy="2945985"/>
            </a:xfrm>
          </p:grpSpPr>
          <p:sp>
            <p:nvSpPr>
              <p:cNvPr id="65" name="Textfeld 184">
                <a:extLst>
                  <a:ext uri="{FF2B5EF4-FFF2-40B4-BE49-F238E27FC236}">
                    <a16:creationId xmlns:a16="http://schemas.microsoft.com/office/drawing/2014/main" id="{4190B8BA-0130-D481-0DB7-512253053B4A}"/>
                  </a:ext>
                </a:extLst>
              </p:cNvPr>
              <p:cNvSpPr txBox="1"/>
              <p:nvPr/>
            </p:nvSpPr>
            <p:spPr>
              <a:xfrm>
                <a:off x="10194880" y="4005064"/>
                <a:ext cx="151140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13713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9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rPr>
                  <a:t>Prioritisation</a:t>
                </a:r>
              </a:p>
            </p:txBody>
          </p:sp>
          <p:grpSp>
            <p:nvGrpSpPr>
              <p:cNvPr id="66" name="Gruppieren 185">
                <a:extLst>
                  <a:ext uri="{FF2B5EF4-FFF2-40B4-BE49-F238E27FC236}">
                    <a16:creationId xmlns:a16="http://schemas.microsoft.com/office/drawing/2014/main" id="{CF9FBE40-0543-4164-F934-FA326202F0CA}"/>
                  </a:ext>
                </a:extLst>
              </p:cNvPr>
              <p:cNvGrpSpPr/>
              <p:nvPr/>
            </p:nvGrpSpPr>
            <p:grpSpPr>
              <a:xfrm>
                <a:off x="10018917" y="1428411"/>
                <a:ext cx="1549691" cy="1521917"/>
                <a:chOff x="10018917" y="1428411"/>
                <a:chExt cx="1549691" cy="1521917"/>
              </a:xfrm>
            </p:grpSpPr>
            <p:sp>
              <p:nvSpPr>
                <p:cNvPr id="67" name="Sechseck 186">
                  <a:extLst>
                    <a:ext uri="{FF2B5EF4-FFF2-40B4-BE49-F238E27FC236}">
                      <a16:creationId xmlns:a16="http://schemas.microsoft.com/office/drawing/2014/main" id="{43EF5C75-E230-DA2A-1647-5A57C1DB6DBA}"/>
                    </a:ext>
                  </a:extLst>
                </p:cNvPr>
                <p:cNvSpPr/>
                <p:nvPr/>
              </p:nvSpPr>
              <p:spPr>
                <a:xfrm>
                  <a:off x="10018917" y="1614383"/>
                  <a:ext cx="1549691" cy="1335945"/>
                </a:xfrm>
                <a:prstGeom prst="hexagon">
                  <a:avLst/>
                </a:prstGeom>
                <a:solidFill>
                  <a:srgbClr val="FFFFFF"/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LINE ICON - hand">
                  <a:extLst>
                    <a:ext uri="{FF2B5EF4-FFF2-40B4-BE49-F238E27FC236}">
                      <a16:creationId xmlns:a16="http://schemas.microsoft.com/office/drawing/2014/main" id="{76CAB474-1D5D-4573-09F5-5DC477AE469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10377300" y="1761217"/>
                  <a:ext cx="832925" cy="899627"/>
                </a:xfrm>
                <a:custGeom>
                  <a:avLst/>
                  <a:gdLst>
                    <a:gd name="T0" fmla="*/ 206 w 217"/>
                    <a:gd name="T1" fmla="*/ 119 h 234"/>
                    <a:gd name="T2" fmla="*/ 198 w 217"/>
                    <a:gd name="T3" fmla="*/ 85 h 234"/>
                    <a:gd name="T4" fmla="*/ 148 w 217"/>
                    <a:gd name="T5" fmla="*/ 60 h 234"/>
                    <a:gd name="T6" fmla="*/ 153 w 217"/>
                    <a:gd name="T7" fmla="*/ 39 h 234"/>
                    <a:gd name="T8" fmla="*/ 129 w 217"/>
                    <a:gd name="T9" fmla="*/ 0 h 234"/>
                    <a:gd name="T10" fmla="*/ 114 w 217"/>
                    <a:gd name="T11" fmla="*/ 29 h 234"/>
                    <a:gd name="T12" fmla="*/ 96 w 217"/>
                    <a:gd name="T13" fmla="*/ 72 h 234"/>
                    <a:gd name="T14" fmla="*/ 72 w 217"/>
                    <a:gd name="T15" fmla="*/ 110 h 234"/>
                    <a:gd name="T16" fmla="*/ 54 w 217"/>
                    <a:gd name="T17" fmla="*/ 127 h 234"/>
                    <a:gd name="T18" fmla="*/ 13 w 217"/>
                    <a:gd name="T19" fmla="*/ 125 h 234"/>
                    <a:gd name="T20" fmla="*/ 0 w 217"/>
                    <a:gd name="T21" fmla="*/ 221 h 234"/>
                    <a:gd name="T22" fmla="*/ 66 w 217"/>
                    <a:gd name="T23" fmla="*/ 232 h 234"/>
                    <a:gd name="T24" fmla="*/ 73 w 217"/>
                    <a:gd name="T25" fmla="*/ 229 h 234"/>
                    <a:gd name="T26" fmla="*/ 105 w 217"/>
                    <a:gd name="T27" fmla="*/ 230 h 234"/>
                    <a:gd name="T28" fmla="*/ 121 w 217"/>
                    <a:gd name="T29" fmla="*/ 233 h 234"/>
                    <a:gd name="T30" fmla="*/ 146 w 217"/>
                    <a:gd name="T31" fmla="*/ 234 h 234"/>
                    <a:gd name="T32" fmla="*/ 197 w 217"/>
                    <a:gd name="T33" fmla="*/ 219 h 234"/>
                    <a:gd name="T34" fmla="*/ 204 w 217"/>
                    <a:gd name="T35" fmla="*/ 194 h 234"/>
                    <a:gd name="T36" fmla="*/ 208 w 217"/>
                    <a:gd name="T37" fmla="*/ 158 h 234"/>
                    <a:gd name="T38" fmla="*/ 67 w 217"/>
                    <a:gd name="T39" fmla="*/ 225 h 234"/>
                    <a:gd name="T40" fmla="*/ 12 w 217"/>
                    <a:gd name="T41" fmla="*/ 225 h 234"/>
                    <a:gd name="T42" fmla="*/ 8 w 217"/>
                    <a:gd name="T43" fmla="*/ 137 h 234"/>
                    <a:gd name="T44" fmla="*/ 46 w 217"/>
                    <a:gd name="T45" fmla="*/ 133 h 234"/>
                    <a:gd name="T46" fmla="*/ 68 w 217"/>
                    <a:gd name="T47" fmla="*/ 220 h 234"/>
                    <a:gd name="T48" fmla="*/ 200 w 217"/>
                    <a:gd name="T49" fmla="*/ 155 h 234"/>
                    <a:gd name="T50" fmla="*/ 200 w 217"/>
                    <a:gd name="T51" fmla="*/ 162 h 234"/>
                    <a:gd name="T52" fmla="*/ 197 w 217"/>
                    <a:gd name="T53" fmla="*/ 189 h 234"/>
                    <a:gd name="T54" fmla="*/ 195 w 217"/>
                    <a:gd name="T55" fmla="*/ 195 h 234"/>
                    <a:gd name="T56" fmla="*/ 192 w 217"/>
                    <a:gd name="T57" fmla="*/ 213 h 234"/>
                    <a:gd name="T58" fmla="*/ 146 w 217"/>
                    <a:gd name="T59" fmla="*/ 226 h 234"/>
                    <a:gd name="T60" fmla="*/ 116 w 217"/>
                    <a:gd name="T61" fmla="*/ 224 h 234"/>
                    <a:gd name="T62" fmla="*/ 75 w 217"/>
                    <a:gd name="T63" fmla="*/ 217 h 234"/>
                    <a:gd name="T64" fmla="*/ 60 w 217"/>
                    <a:gd name="T65" fmla="*/ 136 h 234"/>
                    <a:gd name="T66" fmla="*/ 61 w 217"/>
                    <a:gd name="T67" fmla="*/ 132 h 234"/>
                    <a:gd name="T68" fmla="*/ 92 w 217"/>
                    <a:gd name="T69" fmla="*/ 90 h 234"/>
                    <a:gd name="T70" fmla="*/ 123 w 217"/>
                    <a:gd name="T71" fmla="*/ 31 h 234"/>
                    <a:gd name="T72" fmla="*/ 125 w 217"/>
                    <a:gd name="T73" fmla="*/ 10 h 234"/>
                    <a:gd name="T74" fmla="*/ 137 w 217"/>
                    <a:gd name="T75" fmla="*/ 11 h 234"/>
                    <a:gd name="T76" fmla="*/ 142 w 217"/>
                    <a:gd name="T77" fmla="*/ 54 h 234"/>
                    <a:gd name="T78" fmla="*/ 135 w 217"/>
                    <a:gd name="T79" fmla="*/ 90 h 234"/>
                    <a:gd name="T80" fmla="*/ 139 w 217"/>
                    <a:gd name="T81" fmla="*/ 95 h 234"/>
                    <a:gd name="T82" fmla="*/ 201 w 217"/>
                    <a:gd name="T83" fmla="*/ 108 h 234"/>
                    <a:gd name="T84" fmla="*/ 196 w 217"/>
                    <a:gd name="T85" fmla="*/ 121 h 234"/>
                    <a:gd name="T86" fmla="*/ 208 w 217"/>
                    <a:gd name="T87" fmla="*/ 138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7" h="234">
                      <a:moveTo>
                        <a:pt x="216" y="138"/>
                      </a:moveTo>
                      <a:cubicBezTo>
                        <a:pt x="215" y="130"/>
                        <a:pt x="209" y="123"/>
                        <a:pt x="206" y="119"/>
                      </a:cubicBezTo>
                      <a:cubicBezTo>
                        <a:pt x="207" y="116"/>
                        <a:pt x="209" y="111"/>
                        <a:pt x="209" y="108"/>
                      </a:cubicBezTo>
                      <a:cubicBezTo>
                        <a:pt x="209" y="104"/>
                        <a:pt x="209" y="92"/>
                        <a:pt x="198" y="85"/>
                      </a:cubicBezTo>
                      <a:cubicBezTo>
                        <a:pt x="189" y="81"/>
                        <a:pt x="158" y="84"/>
                        <a:pt x="144" y="86"/>
                      </a:cubicBezTo>
                      <a:cubicBezTo>
                        <a:pt x="145" y="78"/>
                        <a:pt x="147" y="63"/>
                        <a:pt x="148" y="60"/>
                      </a:cubicBezTo>
                      <a:cubicBezTo>
                        <a:pt x="148" y="60"/>
                        <a:pt x="148" y="59"/>
                        <a:pt x="149" y="57"/>
                      </a:cubicBezTo>
                      <a:cubicBezTo>
                        <a:pt x="151" y="54"/>
                        <a:pt x="153" y="49"/>
                        <a:pt x="153" y="39"/>
                      </a:cubicBezTo>
                      <a:cubicBezTo>
                        <a:pt x="154" y="29"/>
                        <a:pt x="151" y="14"/>
                        <a:pt x="143" y="6"/>
                      </a:cubicBezTo>
                      <a:cubicBezTo>
                        <a:pt x="139" y="2"/>
                        <a:pt x="134" y="0"/>
                        <a:pt x="129" y="0"/>
                      </a:cubicBezTo>
                      <a:cubicBezTo>
                        <a:pt x="125" y="0"/>
                        <a:pt x="121" y="2"/>
                        <a:pt x="119" y="5"/>
                      </a:cubicBezTo>
                      <a:cubicBezTo>
                        <a:pt x="113" y="11"/>
                        <a:pt x="114" y="24"/>
                        <a:pt x="114" y="29"/>
                      </a:cubicBezTo>
                      <a:cubicBezTo>
                        <a:pt x="115" y="30"/>
                        <a:pt x="115" y="31"/>
                        <a:pt x="115" y="31"/>
                      </a:cubicBezTo>
                      <a:cubicBezTo>
                        <a:pt x="114" y="35"/>
                        <a:pt x="105" y="57"/>
                        <a:pt x="96" y="72"/>
                      </a:cubicBezTo>
                      <a:cubicBezTo>
                        <a:pt x="92" y="77"/>
                        <a:pt x="89" y="81"/>
                        <a:pt x="86" y="85"/>
                      </a:cubicBezTo>
                      <a:cubicBezTo>
                        <a:pt x="80" y="93"/>
                        <a:pt x="75" y="99"/>
                        <a:pt x="72" y="110"/>
                      </a:cubicBezTo>
                      <a:cubicBezTo>
                        <a:pt x="70" y="120"/>
                        <a:pt x="58" y="124"/>
                        <a:pt x="58" y="124"/>
                      </a:cubicBezTo>
                      <a:cubicBezTo>
                        <a:pt x="56" y="125"/>
                        <a:pt x="55" y="126"/>
                        <a:pt x="54" y="127"/>
                      </a:cubicBezTo>
                      <a:cubicBezTo>
                        <a:pt x="51" y="126"/>
                        <a:pt x="49" y="125"/>
                        <a:pt x="46" y="125"/>
                      </a:cubicBezTo>
                      <a:cubicBezTo>
                        <a:pt x="13" y="125"/>
                        <a:pt x="13" y="125"/>
                        <a:pt x="13" y="125"/>
                      </a:cubicBezTo>
                      <a:cubicBezTo>
                        <a:pt x="6" y="125"/>
                        <a:pt x="1" y="130"/>
                        <a:pt x="0" y="136"/>
                      </a:cubicBezTo>
                      <a:cubicBezTo>
                        <a:pt x="0" y="221"/>
                        <a:pt x="0" y="221"/>
                        <a:pt x="0" y="221"/>
                      </a:cubicBezTo>
                      <a:cubicBezTo>
                        <a:pt x="0" y="228"/>
                        <a:pt x="6" y="232"/>
                        <a:pt x="12" y="232"/>
                      </a:cubicBezTo>
                      <a:cubicBezTo>
                        <a:pt x="66" y="232"/>
                        <a:pt x="66" y="232"/>
                        <a:pt x="66" y="232"/>
                      </a:cubicBezTo>
                      <a:cubicBezTo>
                        <a:pt x="66" y="232"/>
                        <a:pt x="66" y="232"/>
                        <a:pt x="66" y="232"/>
                      </a:cubicBezTo>
                      <a:cubicBezTo>
                        <a:pt x="69" y="232"/>
                        <a:pt x="71" y="231"/>
                        <a:pt x="73" y="229"/>
                      </a:cubicBezTo>
                      <a:cubicBezTo>
                        <a:pt x="74" y="228"/>
                        <a:pt x="75" y="227"/>
                        <a:pt x="75" y="225"/>
                      </a:cubicBezTo>
                      <a:cubicBezTo>
                        <a:pt x="81" y="226"/>
                        <a:pt x="98" y="230"/>
                        <a:pt x="105" y="230"/>
                      </a:cubicBezTo>
                      <a:cubicBezTo>
                        <a:pt x="110" y="231"/>
                        <a:pt x="111" y="231"/>
                        <a:pt x="114" y="232"/>
                      </a:cubicBezTo>
                      <a:cubicBezTo>
                        <a:pt x="115" y="232"/>
                        <a:pt x="117" y="233"/>
                        <a:pt x="121" y="233"/>
                      </a:cubicBezTo>
                      <a:cubicBezTo>
                        <a:pt x="124" y="234"/>
                        <a:pt x="128" y="234"/>
                        <a:pt x="132" y="234"/>
                      </a:cubicBezTo>
                      <a:cubicBezTo>
                        <a:pt x="137" y="234"/>
                        <a:pt x="142" y="234"/>
                        <a:pt x="146" y="234"/>
                      </a:cubicBezTo>
                      <a:cubicBezTo>
                        <a:pt x="151" y="233"/>
                        <a:pt x="156" y="233"/>
                        <a:pt x="161" y="233"/>
                      </a:cubicBezTo>
                      <a:cubicBezTo>
                        <a:pt x="176" y="233"/>
                        <a:pt x="183" y="229"/>
                        <a:pt x="197" y="219"/>
                      </a:cubicBezTo>
                      <a:cubicBezTo>
                        <a:pt x="205" y="213"/>
                        <a:pt x="206" y="205"/>
                        <a:pt x="205" y="200"/>
                      </a:cubicBezTo>
                      <a:cubicBezTo>
                        <a:pt x="205" y="198"/>
                        <a:pt x="204" y="196"/>
                        <a:pt x="204" y="194"/>
                      </a:cubicBezTo>
                      <a:cubicBezTo>
                        <a:pt x="208" y="191"/>
                        <a:pt x="214" y="185"/>
                        <a:pt x="214" y="175"/>
                      </a:cubicBezTo>
                      <a:cubicBezTo>
                        <a:pt x="213" y="166"/>
                        <a:pt x="211" y="161"/>
                        <a:pt x="208" y="158"/>
                      </a:cubicBezTo>
                      <a:cubicBezTo>
                        <a:pt x="212" y="155"/>
                        <a:pt x="217" y="148"/>
                        <a:pt x="216" y="138"/>
                      </a:cubicBezTo>
                      <a:close/>
                      <a:moveTo>
                        <a:pt x="67" y="225"/>
                      </a:moveTo>
                      <a:cubicBezTo>
                        <a:pt x="67" y="225"/>
                        <a:pt x="66" y="225"/>
                        <a:pt x="66" y="225"/>
                      </a:cubicBezTo>
                      <a:cubicBezTo>
                        <a:pt x="12" y="225"/>
                        <a:pt x="12" y="225"/>
                        <a:pt x="12" y="225"/>
                      </a:cubicBezTo>
                      <a:cubicBezTo>
                        <a:pt x="10" y="225"/>
                        <a:pt x="8" y="223"/>
                        <a:pt x="8" y="221"/>
                      </a:cubicBezTo>
                      <a:cubicBezTo>
                        <a:pt x="8" y="137"/>
                        <a:pt x="8" y="137"/>
                        <a:pt x="8" y="137"/>
                      </a:cubicBezTo>
                      <a:cubicBezTo>
                        <a:pt x="8" y="134"/>
                        <a:pt x="11" y="133"/>
                        <a:pt x="13" y="133"/>
                      </a:cubicBezTo>
                      <a:cubicBezTo>
                        <a:pt x="46" y="133"/>
                        <a:pt x="46" y="133"/>
                        <a:pt x="46" y="133"/>
                      </a:cubicBezTo>
                      <a:cubicBezTo>
                        <a:pt x="49" y="133"/>
                        <a:pt x="51" y="135"/>
                        <a:pt x="51" y="137"/>
                      </a:cubicBezTo>
                      <a:cubicBezTo>
                        <a:pt x="68" y="220"/>
                        <a:pt x="68" y="220"/>
                        <a:pt x="68" y="220"/>
                      </a:cubicBezTo>
                      <a:cubicBezTo>
                        <a:pt x="68" y="222"/>
                        <a:pt x="68" y="224"/>
                        <a:pt x="67" y="225"/>
                      </a:cubicBezTo>
                      <a:close/>
                      <a:moveTo>
                        <a:pt x="200" y="155"/>
                      </a:moveTo>
                      <a:cubicBezTo>
                        <a:pt x="194" y="158"/>
                        <a:pt x="194" y="158"/>
                        <a:pt x="194" y="158"/>
                      </a:cubicBezTo>
                      <a:cubicBezTo>
                        <a:pt x="200" y="162"/>
                        <a:pt x="200" y="162"/>
                        <a:pt x="200" y="162"/>
                      </a:cubicBezTo>
                      <a:cubicBezTo>
                        <a:pt x="201" y="162"/>
                        <a:pt x="205" y="165"/>
                        <a:pt x="206" y="175"/>
                      </a:cubicBezTo>
                      <a:cubicBezTo>
                        <a:pt x="206" y="186"/>
                        <a:pt x="198" y="189"/>
                        <a:pt x="197" y="189"/>
                      </a:cubicBezTo>
                      <a:cubicBezTo>
                        <a:pt x="192" y="190"/>
                        <a:pt x="192" y="190"/>
                        <a:pt x="192" y="190"/>
                      </a:cubicBezTo>
                      <a:cubicBezTo>
                        <a:pt x="195" y="195"/>
                        <a:pt x="195" y="195"/>
                        <a:pt x="195" y="195"/>
                      </a:cubicBezTo>
                      <a:cubicBezTo>
                        <a:pt x="195" y="195"/>
                        <a:pt x="197" y="198"/>
                        <a:pt x="197" y="201"/>
                      </a:cubicBezTo>
                      <a:cubicBezTo>
                        <a:pt x="198" y="206"/>
                        <a:pt x="196" y="210"/>
                        <a:pt x="192" y="213"/>
                      </a:cubicBezTo>
                      <a:cubicBezTo>
                        <a:pt x="179" y="222"/>
                        <a:pt x="174" y="225"/>
                        <a:pt x="161" y="225"/>
                      </a:cubicBezTo>
                      <a:cubicBezTo>
                        <a:pt x="156" y="225"/>
                        <a:pt x="151" y="225"/>
                        <a:pt x="146" y="226"/>
                      </a:cubicBezTo>
                      <a:cubicBezTo>
                        <a:pt x="137" y="226"/>
                        <a:pt x="127" y="226"/>
                        <a:pt x="122" y="225"/>
                      </a:cubicBezTo>
                      <a:cubicBezTo>
                        <a:pt x="119" y="225"/>
                        <a:pt x="117" y="224"/>
                        <a:pt x="116" y="224"/>
                      </a:cubicBezTo>
                      <a:cubicBezTo>
                        <a:pt x="113" y="223"/>
                        <a:pt x="111" y="223"/>
                        <a:pt x="106" y="223"/>
                      </a:cubicBezTo>
                      <a:cubicBezTo>
                        <a:pt x="99" y="222"/>
                        <a:pt x="79" y="218"/>
                        <a:pt x="75" y="217"/>
                      </a:cubicBezTo>
                      <a:cubicBezTo>
                        <a:pt x="60" y="137"/>
                        <a:pt x="60" y="137"/>
                        <a:pt x="60" y="137"/>
                      </a:cubicBezTo>
                      <a:cubicBezTo>
                        <a:pt x="60" y="136"/>
                        <a:pt x="60" y="136"/>
                        <a:pt x="60" y="136"/>
                      </a:cubicBezTo>
                      <a:cubicBezTo>
                        <a:pt x="59" y="133"/>
                        <a:pt x="59" y="132"/>
                        <a:pt x="59" y="132"/>
                      </a:cubicBezTo>
                      <a:cubicBezTo>
                        <a:pt x="59" y="132"/>
                        <a:pt x="60" y="132"/>
                        <a:pt x="61" y="132"/>
                      </a:cubicBezTo>
                      <a:cubicBezTo>
                        <a:pt x="61" y="132"/>
                        <a:pt x="77" y="126"/>
                        <a:pt x="80" y="111"/>
                      </a:cubicBezTo>
                      <a:cubicBezTo>
                        <a:pt x="82" y="103"/>
                        <a:pt x="86" y="97"/>
                        <a:pt x="92" y="90"/>
                      </a:cubicBezTo>
                      <a:cubicBezTo>
                        <a:pt x="95" y="86"/>
                        <a:pt x="99" y="82"/>
                        <a:pt x="102" y="76"/>
                      </a:cubicBezTo>
                      <a:cubicBezTo>
                        <a:pt x="111" y="62"/>
                        <a:pt x="123" y="37"/>
                        <a:pt x="123" y="31"/>
                      </a:cubicBezTo>
                      <a:cubicBezTo>
                        <a:pt x="123" y="31"/>
                        <a:pt x="123" y="30"/>
                        <a:pt x="122" y="29"/>
                      </a:cubicBezTo>
                      <a:cubicBezTo>
                        <a:pt x="122" y="24"/>
                        <a:pt x="121" y="14"/>
                        <a:pt x="125" y="10"/>
                      </a:cubicBezTo>
                      <a:cubicBezTo>
                        <a:pt x="126" y="9"/>
                        <a:pt x="127" y="8"/>
                        <a:pt x="129" y="8"/>
                      </a:cubicBezTo>
                      <a:cubicBezTo>
                        <a:pt x="132" y="8"/>
                        <a:pt x="135" y="9"/>
                        <a:pt x="137" y="11"/>
                      </a:cubicBezTo>
                      <a:cubicBezTo>
                        <a:pt x="142" y="16"/>
                        <a:pt x="146" y="28"/>
                        <a:pt x="145" y="39"/>
                      </a:cubicBezTo>
                      <a:cubicBezTo>
                        <a:pt x="145" y="47"/>
                        <a:pt x="143" y="51"/>
                        <a:pt x="142" y="54"/>
                      </a:cubicBezTo>
                      <a:cubicBezTo>
                        <a:pt x="141" y="56"/>
                        <a:pt x="140" y="57"/>
                        <a:pt x="140" y="59"/>
                      </a:cubicBezTo>
                      <a:cubicBezTo>
                        <a:pt x="139" y="63"/>
                        <a:pt x="135" y="90"/>
                        <a:pt x="135" y="90"/>
                      </a:cubicBezTo>
                      <a:cubicBezTo>
                        <a:pt x="134" y="96"/>
                        <a:pt x="134" y="96"/>
                        <a:pt x="134" y="96"/>
                      </a:cubicBezTo>
                      <a:cubicBezTo>
                        <a:pt x="139" y="95"/>
                        <a:pt x="139" y="95"/>
                        <a:pt x="139" y="95"/>
                      </a:cubicBezTo>
                      <a:cubicBezTo>
                        <a:pt x="158" y="92"/>
                        <a:pt x="188" y="89"/>
                        <a:pt x="194" y="92"/>
                      </a:cubicBezTo>
                      <a:cubicBezTo>
                        <a:pt x="201" y="97"/>
                        <a:pt x="201" y="104"/>
                        <a:pt x="201" y="108"/>
                      </a:cubicBezTo>
                      <a:cubicBezTo>
                        <a:pt x="201" y="110"/>
                        <a:pt x="199" y="115"/>
                        <a:pt x="197" y="118"/>
                      </a:cubicBezTo>
                      <a:cubicBezTo>
                        <a:pt x="196" y="121"/>
                        <a:pt x="196" y="121"/>
                        <a:pt x="196" y="121"/>
                      </a:cubicBezTo>
                      <a:cubicBezTo>
                        <a:pt x="198" y="123"/>
                        <a:pt x="198" y="123"/>
                        <a:pt x="198" y="123"/>
                      </a:cubicBezTo>
                      <a:cubicBezTo>
                        <a:pt x="201" y="125"/>
                        <a:pt x="208" y="132"/>
                        <a:pt x="208" y="138"/>
                      </a:cubicBezTo>
                      <a:cubicBezTo>
                        <a:pt x="209" y="149"/>
                        <a:pt x="201" y="154"/>
                        <a:pt x="200" y="155"/>
                      </a:cubicBezTo>
                      <a:close/>
                    </a:path>
                  </a:pathLst>
                </a:custGeom>
                <a:solidFill>
                  <a:srgbClr val="023D6B"/>
                </a:solidFill>
                <a:ln>
                  <a:noFill/>
                </a:ln>
              </p:spPr>
              <p:txBody>
                <a:bodyPr vert="horz" wrap="square" lIns="137128" tIns="68564" rIns="137128" bIns="6856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1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Ellipse 188">
                  <a:extLst>
                    <a:ext uri="{FF2B5EF4-FFF2-40B4-BE49-F238E27FC236}">
                      <a16:creationId xmlns:a16="http://schemas.microsoft.com/office/drawing/2014/main" id="{D802225E-D606-11B7-8436-FBAAF2C6A07A}"/>
                    </a:ext>
                  </a:extLst>
                </p:cNvPr>
                <p:cNvSpPr/>
                <p:nvPr/>
              </p:nvSpPr>
              <p:spPr>
                <a:xfrm>
                  <a:off x="10161119" y="1428411"/>
                  <a:ext cx="399377" cy="413840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878787">
                          <a:lumMod val="50000"/>
                        </a:srgbClr>
                      </a:solidFill>
                      <a:effectLst/>
                      <a:uLnTx/>
                      <a:uFillTx/>
                    </a:rPr>
                    <a:t>4</a:t>
                  </a:r>
                </a:p>
              </p:txBody>
            </p:sp>
          </p:grpSp>
        </p:grpSp>
        <p:grpSp>
          <p:nvGrpSpPr>
            <p:cNvPr id="52" name="Gruppieren 96">
              <a:extLst>
                <a:ext uri="{FF2B5EF4-FFF2-40B4-BE49-F238E27FC236}">
                  <a16:creationId xmlns:a16="http://schemas.microsoft.com/office/drawing/2014/main" id="{FCCDD9AC-4966-6683-9F6A-A6ABB8918452}"/>
                </a:ext>
              </a:extLst>
            </p:cNvPr>
            <p:cNvGrpSpPr/>
            <p:nvPr/>
          </p:nvGrpSpPr>
          <p:grpSpPr>
            <a:xfrm>
              <a:off x="6608284" y="1439488"/>
              <a:ext cx="2249508" cy="2934908"/>
              <a:chOff x="6582796" y="1439488"/>
              <a:chExt cx="2249508" cy="2934908"/>
            </a:xfrm>
          </p:grpSpPr>
          <p:sp>
            <p:nvSpPr>
              <p:cNvPr id="53" name="Textfeld 97">
                <a:extLst>
                  <a:ext uri="{FF2B5EF4-FFF2-40B4-BE49-F238E27FC236}">
                    <a16:creationId xmlns:a16="http://schemas.microsoft.com/office/drawing/2014/main" id="{3AC65D95-ED3F-2D71-05D9-FEEF4C1A69CB}"/>
                  </a:ext>
                </a:extLst>
              </p:cNvPr>
              <p:cNvSpPr txBox="1"/>
              <p:nvPr/>
            </p:nvSpPr>
            <p:spPr>
              <a:xfrm>
                <a:off x="6582796" y="4005064"/>
                <a:ext cx="224950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3713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9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rPr>
                  <a:t>Validation</a:t>
                </a:r>
              </a:p>
            </p:txBody>
          </p:sp>
          <p:grpSp>
            <p:nvGrpSpPr>
              <p:cNvPr id="54" name="Gruppieren 98">
                <a:extLst>
                  <a:ext uri="{FF2B5EF4-FFF2-40B4-BE49-F238E27FC236}">
                    <a16:creationId xmlns:a16="http://schemas.microsoft.com/office/drawing/2014/main" id="{4CA7312D-6B26-01AD-6BFF-8F6AEEF2FB70}"/>
                  </a:ext>
                </a:extLst>
              </p:cNvPr>
              <p:cNvGrpSpPr/>
              <p:nvPr/>
            </p:nvGrpSpPr>
            <p:grpSpPr>
              <a:xfrm>
                <a:off x="6923026" y="1439488"/>
                <a:ext cx="1569048" cy="2361624"/>
                <a:chOff x="6816080" y="1439488"/>
                <a:chExt cx="1569048" cy="2361624"/>
              </a:xfrm>
            </p:grpSpPr>
            <p:sp>
              <p:nvSpPr>
                <p:cNvPr id="55" name="Sechseck 99">
                  <a:extLst>
                    <a:ext uri="{FF2B5EF4-FFF2-40B4-BE49-F238E27FC236}">
                      <a16:creationId xmlns:a16="http://schemas.microsoft.com/office/drawing/2014/main" id="{073D0347-63FC-8C3A-388F-DA3D8BA15A17}"/>
                    </a:ext>
                  </a:extLst>
                </p:cNvPr>
                <p:cNvSpPr/>
                <p:nvPr/>
              </p:nvSpPr>
              <p:spPr>
                <a:xfrm>
                  <a:off x="6835437" y="2465168"/>
                  <a:ext cx="1549691" cy="1335944"/>
                </a:xfrm>
                <a:prstGeom prst="hexagon">
                  <a:avLst/>
                </a:prstGeom>
                <a:solidFill>
                  <a:srgbClr val="FFFFFF"/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Sechseck 100">
                  <a:extLst>
                    <a:ext uri="{FF2B5EF4-FFF2-40B4-BE49-F238E27FC236}">
                      <a16:creationId xmlns:a16="http://schemas.microsoft.com/office/drawing/2014/main" id="{1EB915A1-D36B-C87B-A9AD-C4A9F6134905}"/>
                    </a:ext>
                  </a:extLst>
                </p:cNvPr>
                <p:cNvSpPr/>
                <p:nvPr/>
              </p:nvSpPr>
              <p:spPr>
                <a:xfrm>
                  <a:off x="6816080" y="1627714"/>
                  <a:ext cx="1549691" cy="1335944"/>
                </a:xfrm>
                <a:prstGeom prst="hexagon">
                  <a:avLst/>
                </a:prstGeom>
                <a:solidFill>
                  <a:srgbClr val="FFFFFF"/>
                </a:solidFill>
                <a:ln w="381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Ellipse 101">
                  <a:extLst>
                    <a:ext uri="{FF2B5EF4-FFF2-40B4-BE49-F238E27FC236}">
                      <a16:creationId xmlns:a16="http://schemas.microsoft.com/office/drawing/2014/main" id="{0BA6472A-AB11-6B8A-DFD9-C313DF2594E1}"/>
                    </a:ext>
                  </a:extLst>
                </p:cNvPr>
                <p:cNvSpPr/>
                <p:nvPr/>
              </p:nvSpPr>
              <p:spPr>
                <a:xfrm>
                  <a:off x="6933531" y="1439488"/>
                  <a:ext cx="399377" cy="413840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23D6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878787">
                          <a:lumMod val="50000"/>
                        </a:srgbClr>
                      </a:solidFill>
                      <a:effectLst/>
                      <a:uLnTx/>
                      <a:uFillTx/>
                    </a:rPr>
                    <a:t>3</a:t>
                  </a:r>
                </a:p>
              </p:txBody>
            </p:sp>
            <p:grpSp>
              <p:nvGrpSpPr>
                <p:cNvPr id="58" name="LINE ICON - telefon">
                  <a:extLst>
                    <a:ext uri="{FF2B5EF4-FFF2-40B4-BE49-F238E27FC236}">
                      <a16:creationId xmlns:a16="http://schemas.microsoft.com/office/drawing/2014/main" id="{0C248BC6-754A-FD0D-D54F-853064765A4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7306504" y="3018871"/>
                  <a:ext cx="607556" cy="591429"/>
                  <a:chOff x="8699554" y="2601790"/>
                  <a:chExt cx="407861" cy="397034"/>
                </a:xfrm>
                <a:solidFill>
                  <a:srgbClr val="023D6B"/>
                </a:solidFill>
              </p:grpSpPr>
              <p:sp>
                <p:nvSpPr>
                  <p:cNvPr id="62" name="Freeform 309">
                    <a:extLst>
                      <a:ext uri="{FF2B5EF4-FFF2-40B4-BE49-F238E27FC236}">
                        <a16:creationId xmlns:a16="http://schemas.microsoft.com/office/drawing/2014/main" id="{4547F482-CCEB-BF2E-7649-3CC99FE8DCF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8699554" y="2601790"/>
                    <a:ext cx="407861" cy="397034"/>
                  </a:xfrm>
                  <a:custGeom>
                    <a:avLst/>
                    <a:gdLst>
                      <a:gd name="T0" fmla="*/ 175 w 239"/>
                      <a:gd name="T1" fmla="*/ 233 h 233"/>
                      <a:gd name="T2" fmla="*/ 175 w 239"/>
                      <a:gd name="T3" fmla="*/ 233 h 233"/>
                      <a:gd name="T4" fmla="*/ 62 w 239"/>
                      <a:gd name="T5" fmla="*/ 179 h 233"/>
                      <a:gd name="T6" fmla="*/ 7 w 239"/>
                      <a:gd name="T7" fmla="*/ 88 h 233"/>
                      <a:gd name="T8" fmla="*/ 7 w 239"/>
                      <a:gd name="T9" fmla="*/ 43 h 233"/>
                      <a:gd name="T10" fmla="*/ 9 w 239"/>
                      <a:gd name="T11" fmla="*/ 31 h 233"/>
                      <a:gd name="T12" fmla="*/ 28 w 239"/>
                      <a:gd name="T13" fmla="*/ 7 h 233"/>
                      <a:gd name="T14" fmla="*/ 53 w 239"/>
                      <a:gd name="T15" fmla="*/ 10 h 233"/>
                      <a:gd name="T16" fmla="*/ 90 w 239"/>
                      <a:gd name="T17" fmla="*/ 61 h 233"/>
                      <a:gd name="T18" fmla="*/ 87 w 239"/>
                      <a:gd name="T19" fmla="*/ 82 h 233"/>
                      <a:gd name="T20" fmla="*/ 68 w 239"/>
                      <a:gd name="T21" fmla="*/ 96 h 233"/>
                      <a:gd name="T22" fmla="*/ 66 w 239"/>
                      <a:gd name="T23" fmla="*/ 98 h 233"/>
                      <a:gd name="T24" fmla="*/ 98 w 239"/>
                      <a:gd name="T25" fmla="*/ 151 h 233"/>
                      <a:gd name="T26" fmla="*/ 138 w 239"/>
                      <a:gd name="T27" fmla="*/ 174 h 233"/>
                      <a:gd name="T28" fmla="*/ 143 w 239"/>
                      <a:gd name="T29" fmla="*/ 173 h 233"/>
                      <a:gd name="T30" fmla="*/ 144 w 239"/>
                      <a:gd name="T31" fmla="*/ 170 h 233"/>
                      <a:gd name="T32" fmla="*/ 158 w 239"/>
                      <a:gd name="T33" fmla="*/ 151 h 233"/>
                      <a:gd name="T34" fmla="*/ 170 w 239"/>
                      <a:gd name="T35" fmla="*/ 144 h 233"/>
                      <a:gd name="T36" fmla="*/ 179 w 239"/>
                      <a:gd name="T37" fmla="*/ 147 h 233"/>
                      <a:gd name="T38" fmla="*/ 231 w 239"/>
                      <a:gd name="T39" fmla="*/ 183 h 233"/>
                      <a:gd name="T40" fmla="*/ 239 w 239"/>
                      <a:gd name="T41" fmla="*/ 194 h 233"/>
                      <a:gd name="T42" fmla="*/ 234 w 239"/>
                      <a:gd name="T43" fmla="*/ 207 h 233"/>
                      <a:gd name="T44" fmla="*/ 211 w 239"/>
                      <a:gd name="T45" fmla="*/ 226 h 233"/>
                      <a:gd name="T46" fmla="*/ 200 w 239"/>
                      <a:gd name="T47" fmla="*/ 229 h 233"/>
                      <a:gd name="T48" fmla="*/ 175 w 239"/>
                      <a:gd name="T49" fmla="*/ 233 h 233"/>
                      <a:gd name="T50" fmla="*/ 40 w 239"/>
                      <a:gd name="T51" fmla="*/ 10 h 233"/>
                      <a:gd name="T52" fmla="*/ 34 w 239"/>
                      <a:gd name="T53" fmla="*/ 13 h 233"/>
                      <a:gd name="T54" fmla="*/ 16 w 239"/>
                      <a:gd name="T55" fmla="*/ 35 h 233"/>
                      <a:gd name="T56" fmla="*/ 15 w 239"/>
                      <a:gd name="T57" fmla="*/ 42 h 233"/>
                      <a:gd name="T58" fmla="*/ 15 w 239"/>
                      <a:gd name="T59" fmla="*/ 43 h 233"/>
                      <a:gd name="T60" fmla="*/ 15 w 239"/>
                      <a:gd name="T61" fmla="*/ 44 h 233"/>
                      <a:gd name="T62" fmla="*/ 67 w 239"/>
                      <a:gd name="T63" fmla="*/ 173 h 233"/>
                      <a:gd name="T64" fmla="*/ 175 w 239"/>
                      <a:gd name="T65" fmla="*/ 225 h 233"/>
                      <a:gd name="T66" fmla="*/ 198 w 239"/>
                      <a:gd name="T67" fmla="*/ 222 h 233"/>
                      <a:gd name="T68" fmla="*/ 199 w 239"/>
                      <a:gd name="T69" fmla="*/ 221 h 233"/>
                      <a:gd name="T70" fmla="*/ 200 w 239"/>
                      <a:gd name="T71" fmla="*/ 221 h 233"/>
                      <a:gd name="T72" fmla="*/ 207 w 239"/>
                      <a:gd name="T73" fmla="*/ 219 h 233"/>
                      <a:gd name="T74" fmla="*/ 228 w 239"/>
                      <a:gd name="T75" fmla="*/ 202 h 233"/>
                      <a:gd name="T76" fmla="*/ 231 w 239"/>
                      <a:gd name="T77" fmla="*/ 195 h 233"/>
                      <a:gd name="T78" fmla="*/ 226 w 239"/>
                      <a:gd name="T79" fmla="*/ 189 h 233"/>
                      <a:gd name="T80" fmla="*/ 174 w 239"/>
                      <a:gd name="T81" fmla="*/ 154 h 233"/>
                      <a:gd name="T82" fmla="*/ 164 w 239"/>
                      <a:gd name="T83" fmla="*/ 155 h 233"/>
                      <a:gd name="T84" fmla="*/ 151 w 239"/>
                      <a:gd name="T85" fmla="*/ 174 h 233"/>
                      <a:gd name="T86" fmla="*/ 150 w 239"/>
                      <a:gd name="T87" fmla="*/ 176 h 233"/>
                      <a:gd name="T88" fmla="*/ 150 w 239"/>
                      <a:gd name="T89" fmla="*/ 178 h 233"/>
                      <a:gd name="T90" fmla="*/ 148 w 239"/>
                      <a:gd name="T91" fmla="*/ 179 h 233"/>
                      <a:gd name="T92" fmla="*/ 138 w 239"/>
                      <a:gd name="T93" fmla="*/ 182 h 233"/>
                      <a:gd name="T94" fmla="*/ 92 w 239"/>
                      <a:gd name="T95" fmla="*/ 156 h 233"/>
                      <a:gd name="T96" fmla="*/ 59 w 239"/>
                      <a:gd name="T97" fmla="*/ 93 h 233"/>
                      <a:gd name="T98" fmla="*/ 59 w 239"/>
                      <a:gd name="T99" fmla="*/ 91 h 233"/>
                      <a:gd name="T100" fmla="*/ 61 w 239"/>
                      <a:gd name="T101" fmla="*/ 91 h 233"/>
                      <a:gd name="T102" fmla="*/ 63 w 239"/>
                      <a:gd name="T103" fmla="*/ 90 h 233"/>
                      <a:gd name="T104" fmla="*/ 82 w 239"/>
                      <a:gd name="T105" fmla="*/ 76 h 233"/>
                      <a:gd name="T106" fmla="*/ 83 w 239"/>
                      <a:gd name="T107" fmla="*/ 66 h 233"/>
                      <a:gd name="T108" fmla="*/ 46 w 239"/>
                      <a:gd name="T109" fmla="*/ 15 h 233"/>
                      <a:gd name="T110" fmla="*/ 40 w 239"/>
                      <a:gd name="T111" fmla="*/ 10 h 2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239" h="233">
                        <a:moveTo>
                          <a:pt x="175" y="233"/>
                        </a:moveTo>
                        <a:cubicBezTo>
                          <a:pt x="175" y="233"/>
                          <a:pt x="175" y="233"/>
                          <a:pt x="175" y="233"/>
                        </a:cubicBezTo>
                        <a:cubicBezTo>
                          <a:pt x="154" y="233"/>
                          <a:pt x="111" y="226"/>
                          <a:pt x="62" y="179"/>
                        </a:cubicBezTo>
                        <a:cubicBezTo>
                          <a:pt x="32" y="151"/>
                          <a:pt x="14" y="120"/>
                          <a:pt x="7" y="88"/>
                        </a:cubicBezTo>
                        <a:cubicBezTo>
                          <a:pt x="2" y="65"/>
                          <a:pt x="5" y="48"/>
                          <a:pt x="7" y="43"/>
                        </a:cubicBezTo>
                        <a:cubicBezTo>
                          <a:pt x="6" y="39"/>
                          <a:pt x="7" y="35"/>
                          <a:pt x="9" y="31"/>
                        </a:cubicBezTo>
                        <a:cubicBezTo>
                          <a:pt x="13" y="24"/>
                          <a:pt x="23" y="12"/>
                          <a:pt x="28" y="7"/>
                        </a:cubicBezTo>
                        <a:cubicBezTo>
                          <a:pt x="37" y="0"/>
                          <a:pt x="45" y="1"/>
                          <a:pt x="53" y="10"/>
                        </a:cubicBezTo>
                        <a:cubicBezTo>
                          <a:pt x="90" y="61"/>
                          <a:pt x="90" y="61"/>
                          <a:pt x="90" y="61"/>
                        </a:cubicBezTo>
                        <a:cubicBezTo>
                          <a:pt x="95" y="68"/>
                          <a:pt x="93" y="77"/>
                          <a:pt x="87" y="82"/>
                        </a:cubicBezTo>
                        <a:cubicBezTo>
                          <a:pt x="68" y="96"/>
                          <a:pt x="68" y="96"/>
                          <a:pt x="68" y="96"/>
                        </a:cubicBezTo>
                        <a:cubicBezTo>
                          <a:pt x="67" y="97"/>
                          <a:pt x="67" y="97"/>
                          <a:pt x="66" y="98"/>
                        </a:cubicBezTo>
                        <a:cubicBezTo>
                          <a:pt x="63" y="109"/>
                          <a:pt x="74" y="126"/>
                          <a:pt x="98" y="151"/>
                        </a:cubicBezTo>
                        <a:cubicBezTo>
                          <a:pt x="117" y="170"/>
                          <a:pt x="130" y="174"/>
                          <a:pt x="138" y="174"/>
                        </a:cubicBezTo>
                        <a:cubicBezTo>
                          <a:pt x="140" y="174"/>
                          <a:pt x="141" y="173"/>
                          <a:pt x="143" y="173"/>
                        </a:cubicBezTo>
                        <a:cubicBezTo>
                          <a:pt x="143" y="172"/>
                          <a:pt x="144" y="171"/>
                          <a:pt x="144" y="170"/>
                        </a:cubicBezTo>
                        <a:cubicBezTo>
                          <a:pt x="158" y="151"/>
                          <a:pt x="158" y="151"/>
                          <a:pt x="158" y="151"/>
                        </a:cubicBezTo>
                        <a:cubicBezTo>
                          <a:pt x="160" y="147"/>
                          <a:pt x="165" y="144"/>
                          <a:pt x="170" y="144"/>
                        </a:cubicBezTo>
                        <a:cubicBezTo>
                          <a:pt x="173" y="144"/>
                          <a:pt x="176" y="145"/>
                          <a:pt x="179" y="147"/>
                        </a:cubicBezTo>
                        <a:cubicBezTo>
                          <a:pt x="231" y="183"/>
                          <a:pt x="231" y="183"/>
                          <a:pt x="231" y="183"/>
                        </a:cubicBezTo>
                        <a:cubicBezTo>
                          <a:pt x="236" y="186"/>
                          <a:pt x="238" y="190"/>
                          <a:pt x="239" y="194"/>
                        </a:cubicBezTo>
                        <a:cubicBezTo>
                          <a:pt x="239" y="198"/>
                          <a:pt x="238" y="202"/>
                          <a:pt x="234" y="207"/>
                        </a:cubicBezTo>
                        <a:cubicBezTo>
                          <a:pt x="230" y="212"/>
                          <a:pt x="218" y="222"/>
                          <a:pt x="211" y="226"/>
                        </a:cubicBezTo>
                        <a:cubicBezTo>
                          <a:pt x="208" y="229"/>
                          <a:pt x="204" y="229"/>
                          <a:pt x="200" y="229"/>
                        </a:cubicBezTo>
                        <a:cubicBezTo>
                          <a:pt x="196" y="231"/>
                          <a:pt x="188" y="233"/>
                          <a:pt x="175" y="233"/>
                        </a:cubicBezTo>
                        <a:close/>
                        <a:moveTo>
                          <a:pt x="40" y="10"/>
                        </a:moveTo>
                        <a:cubicBezTo>
                          <a:pt x="38" y="10"/>
                          <a:pt x="36" y="11"/>
                          <a:pt x="34" y="13"/>
                        </a:cubicBezTo>
                        <a:cubicBezTo>
                          <a:pt x="29" y="18"/>
                          <a:pt x="20" y="29"/>
                          <a:pt x="16" y="35"/>
                        </a:cubicBezTo>
                        <a:cubicBezTo>
                          <a:pt x="15" y="37"/>
                          <a:pt x="15" y="40"/>
                          <a:pt x="15" y="42"/>
                        </a:cubicBezTo>
                        <a:cubicBezTo>
                          <a:pt x="15" y="43"/>
                          <a:pt x="15" y="43"/>
                          <a:pt x="15" y="43"/>
                        </a:cubicBezTo>
                        <a:cubicBezTo>
                          <a:pt x="15" y="44"/>
                          <a:pt x="15" y="44"/>
                          <a:pt x="15" y="44"/>
                        </a:cubicBezTo>
                        <a:cubicBezTo>
                          <a:pt x="13" y="50"/>
                          <a:pt x="0" y="108"/>
                          <a:pt x="67" y="173"/>
                        </a:cubicBezTo>
                        <a:cubicBezTo>
                          <a:pt x="114" y="219"/>
                          <a:pt x="155" y="225"/>
                          <a:pt x="175" y="225"/>
                        </a:cubicBezTo>
                        <a:cubicBezTo>
                          <a:pt x="188" y="225"/>
                          <a:pt x="196" y="223"/>
                          <a:pt x="198" y="222"/>
                        </a:cubicBezTo>
                        <a:cubicBezTo>
                          <a:pt x="199" y="221"/>
                          <a:pt x="199" y="221"/>
                          <a:pt x="199" y="221"/>
                        </a:cubicBezTo>
                        <a:cubicBezTo>
                          <a:pt x="200" y="221"/>
                          <a:pt x="200" y="221"/>
                          <a:pt x="200" y="221"/>
                        </a:cubicBezTo>
                        <a:cubicBezTo>
                          <a:pt x="202" y="222"/>
                          <a:pt x="205" y="221"/>
                          <a:pt x="207" y="219"/>
                        </a:cubicBezTo>
                        <a:cubicBezTo>
                          <a:pt x="213" y="216"/>
                          <a:pt x="224" y="207"/>
                          <a:pt x="228" y="202"/>
                        </a:cubicBezTo>
                        <a:cubicBezTo>
                          <a:pt x="230" y="199"/>
                          <a:pt x="231" y="197"/>
                          <a:pt x="231" y="195"/>
                        </a:cubicBezTo>
                        <a:cubicBezTo>
                          <a:pt x="231" y="193"/>
                          <a:pt x="229" y="191"/>
                          <a:pt x="226" y="189"/>
                        </a:cubicBezTo>
                        <a:cubicBezTo>
                          <a:pt x="174" y="154"/>
                          <a:pt x="174" y="154"/>
                          <a:pt x="174" y="154"/>
                        </a:cubicBezTo>
                        <a:cubicBezTo>
                          <a:pt x="171" y="152"/>
                          <a:pt x="166" y="152"/>
                          <a:pt x="164" y="155"/>
                        </a:cubicBezTo>
                        <a:cubicBezTo>
                          <a:pt x="151" y="174"/>
                          <a:pt x="151" y="174"/>
                          <a:pt x="151" y="174"/>
                        </a:cubicBezTo>
                        <a:cubicBezTo>
                          <a:pt x="150" y="175"/>
                          <a:pt x="150" y="176"/>
                          <a:pt x="150" y="176"/>
                        </a:cubicBezTo>
                        <a:cubicBezTo>
                          <a:pt x="150" y="178"/>
                          <a:pt x="150" y="178"/>
                          <a:pt x="150" y="178"/>
                        </a:cubicBezTo>
                        <a:cubicBezTo>
                          <a:pt x="148" y="179"/>
                          <a:pt x="148" y="179"/>
                          <a:pt x="148" y="179"/>
                        </a:cubicBezTo>
                        <a:cubicBezTo>
                          <a:pt x="147" y="180"/>
                          <a:pt x="143" y="182"/>
                          <a:pt x="138" y="182"/>
                        </a:cubicBezTo>
                        <a:cubicBezTo>
                          <a:pt x="128" y="182"/>
                          <a:pt x="113" y="177"/>
                          <a:pt x="92" y="156"/>
                        </a:cubicBezTo>
                        <a:cubicBezTo>
                          <a:pt x="63" y="128"/>
                          <a:pt x="53" y="108"/>
                          <a:pt x="59" y="93"/>
                        </a:cubicBezTo>
                        <a:cubicBezTo>
                          <a:pt x="59" y="91"/>
                          <a:pt x="59" y="91"/>
                          <a:pt x="59" y="91"/>
                        </a:cubicBezTo>
                        <a:cubicBezTo>
                          <a:pt x="61" y="91"/>
                          <a:pt x="61" y="91"/>
                          <a:pt x="61" y="91"/>
                        </a:cubicBezTo>
                        <a:cubicBezTo>
                          <a:pt x="62" y="91"/>
                          <a:pt x="63" y="90"/>
                          <a:pt x="63" y="90"/>
                        </a:cubicBezTo>
                        <a:cubicBezTo>
                          <a:pt x="82" y="76"/>
                          <a:pt x="82" y="76"/>
                          <a:pt x="82" y="76"/>
                        </a:cubicBezTo>
                        <a:cubicBezTo>
                          <a:pt x="85" y="73"/>
                          <a:pt x="86" y="69"/>
                          <a:pt x="83" y="66"/>
                        </a:cubicBez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43" y="10"/>
                          <a:pt x="40" y="10"/>
                          <a:pt x="40" y="1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37128" tIns="68564" rIns="137128" bIns="6856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37132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149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B4B4B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63" name="Freeform 310">
                    <a:extLst>
                      <a:ext uri="{FF2B5EF4-FFF2-40B4-BE49-F238E27FC236}">
                        <a16:creationId xmlns:a16="http://schemas.microsoft.com/office/drawing/2014/main" id="{94225D0A-3030-2FC5-4995-8D22AEC7EA5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892295" y="2683363"/>
                    <a:ext cx="134991" cy="132826"/>
                  </a:xfrm>
                  <a:custGeom>
                    <a:avLst/>
                    <a:gdLst>
                      <a:gd name="T0" fmla="*/ 74 w 79"/>
                      <a:gd name="T1" fmla="*/ 78 h 78"/>
                      <a:gd name="T2" fmla="*/ 70 w 79"/>
                      <a:gd name="T3" fmla="*/ 76 h 78"/>
                      <a:gd name="T4" fmla="*/ 3 w 79"/>
                      <a:gd name="T5" fmla="*/ 9 h 78"/>
                      <a:gd name="T6" fmla="*/ 0 w 79"/>
                      <a:gd name="T7" fmla="*/ 4 h 78"/>
                      <a:gd name="T8" fmla="*/ 5 w 79"/>
                      <a:gd name="T9" fmla="*/ 1 h 78"/>
                      <a:gd name="T10" fmla="*/ 78 w 79"/>
                      <a:gd name="T11" fmla="*/ 73 h 78"/>
                      <a:gd name="T12" fmla="*/ 75 w 79"/>
                      <a:gd name="T13" fmla="*/ 78 h 78"/>
                      <a:gd name="T14" fmla="*/ 74 w 79"/>
                      <a:gd name="T15" fmla="*/ 78 h 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9" h="78">
                        <a:moveTo>
                          <a:pt x="74" y="78"/>
                        </a:moveTo>
                        <a:cubicBezTo>
                          <a:pt x="73" y="78"/>
                          <a:pt x="71" y="77"/>
                          <a:pt x="70" y="76"/>
                        </a:cubicBezTo>
                        <a:cubicBezTo>
                          <a:pt x="60" y="44"/>
                          <a:pt x="35" y="18"/>
                          <a:pt x="3" y="9"/>
                        </a:cubicBezTo>
                        <a:cubicBezTo>
                          <a:pt x="1" y="8"/>
                          <a:pt x="0" y="6"/>
                          <a:pt x="0" y="4"/>
                        </a:cubicBezTo>
                        <a:cubicBezTo>
                          <a:pt x="1" y="2"/>
                          <a:pt x="3" y="0"/>
                          <a:pt x="5" y="1"/>
                        </a:cubicBezTo>
                        <a:cubicBezTo>
                          <a:pt x="40" y="12"/>
                          <a:pt x="67" y="39"/>
                          <a:pt x="78" y="73"/>
                        </a:cubicBezTo>
                        <a:cubicBezTo>
                          <a:pt x="79" y="75"/>
                          <a:pt x="78" y="78"/>
                          <a:pt x="75" y="78"/>
                        </a:cubicBezTo>
                        <a:cubicBezTo>
                          <a:pt x="75" y="78"/>
                          <a:pt x="75" y="78"/>
                          <a:pt x="74" y="7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37128" tIns="68564" rIns="137128" bIns="6856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37132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149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B4B4B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64" name="Freeform 311">
                    <a:extLst>
                      <a:ext uri="{FF2B5EF4-FFF2-40B4-BE49-F238E27FC236}">
                        <a16:creationId xmlns:a16="http://schemas.microsoft.com/office/drawing/2014/main" id="{87BCA364-0BA0-1464-C1C0-10F0F11DD0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900957" y="2632109"/>
                    <a:ext cx="180469" cy="187689"/>
                  </a:xfrm>
                  <a:custGeom>
                    <a:avLst/>
                    <a:gdLst>
                      <a:gd name="T0" fmla="*/ 102 w 106"/>
                      <a:gd name="T1" fmla="*/ 110 h 110"/>
                      <a:gd name="T2" fmla="*/ 98 w 106"/>
                      <a:gd name="T3" fmla="*/ 107 h 110"/>
                      <a:gd name="T4" fmla="*/ 4 w 106"/>
                      <a:gd name="T5" fmla="*/ 8 h 110"/>
                      <a:gd name="T6" fmla="*/ 1 w 106"/>
                      <a:gd name="T7" fmla="*/ 3 h 110"/>
                      <a:gd name="T8" fmla="*/ 6 w 106"/>
                      <a:gd name="T9" fmla="*/ 0 h 110"/>
                      <a:gd name="T10" fmla="*/ 106 w 106"/>
                      <a:gd name="T11" fmla="*/ 105 h 110"/>
                      <a:gd name="T12" fmla="*/ 102 w 106"/>
                      <a:gd name="T13" fmla="*/ 110 h 110"/>
                      <a:gd name="T14" fmla="*/ 102 w 106"/>
                      <a:gd name="T15" fmla="*/ 110 h 1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" h="110">
                        <a:moveTo>
                          <a:pt x="102" y="110"/>
                        </a:moveTo>
                        <a:cubicBezTo>
                          <a:pt x="100" y="110"/>
                          <a:pt x="98" y="109"/>
                          <a:pt x="98" y="107"/>
                        </a:cubicBezTo>
                        <a:cubicBezTo>
                          <a:pt x="89" y="58"/>
                          <a:pt x="52" y="19"/>
                          <a:pt x="4" y="8"/>
                        </a:cubicBezTo>
                        <a:cubicBezTo>
                          <a:pt x="2" y="7"/>
                          <a:pt x="0" y="5"/>
                          <a:pt x="1" y="3"/>
                        </a:cubicBezTo>
                        <a:cubicBezTo>
                          <a:pt x="1" y="1"/>
                          <a:pt x="3" y="0"/>
                          <a:pt x="6" y="0"/>
                        </a:cubicBezTo>
                        <a:cubicBezTo>
                          <a:pt x="57" y="12"/>
                          <a:pt x="96" y="54"/>
                          <a:pt x="106" y="105"/>
                        </a:cubicBezTo>
                        <a:cubicBezTo>
                          <a:pt x="106" y="108"/>
                          <a:pt x="105" y="110"/>
                          <a:pt x="102" y="110"/>
                        </a:cubicBezTo>
                        <a:cubicBezTo>
                          <a:pt x="102" y="110"/>
                          <a:pt x="102" y="110"/>
                          <a:pt x="102" y="11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37128" tIns="68564" rIns="137128" bIns="6856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37132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149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B4B4B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59" name="LINE ICON - world 1">
                  <a:extLst>
                    <a:ext uri="{FF2B5EF4-FFF2-40B4-BE49-F238E27FC236}">
                      <a16:creationId xmlns:a16="http://schemas.microsoft.com/office/drawing/2014/main" id="{5D9F004A-DABD-971F-B850-D860CC062A80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7215485" y="1917872"/>
                  <a:ext cx="750879" cy="750882"/>
                </a:xfrm>
                <a:custGeom>
                  <a:avLst/>
                  <a:gdLst>
                    <a:gd name="T0" fmla="*/ 120 w 240"/>
                    <a:gd name="T1" fmla="*/ 240 h 240"/>
                    <a:gd name="T2" fmla="*/ 230 w 240"/>
                    <a:gd name="T3" fmla="*/ 99 h 240"/>
                    <a:gd name="T4" fmla="*/ 217 w 240"/>
                    <a:gd name="T5" fmla="*/ 127 h 240"/>
                    <a:gd name="T6" fmla="*/ 202 w 240"/>
                    <a:gd name="T7" fmla="*/ 167 h 240"/>
                    <a:gd name="T8" fmla="*/ 198 w 240"/>
                    <a:gd name="T9" fmla="*/ 144 h 240"/>
                    <a:gd name="T10" fmla="*/ 147 w 240"/>
                    <a:gd name="T11" fmla="*/ 115 h 240"/>
                    <a:gd name="T12" fmla="*/ 146 w 240"/>
                    <a:gd name="T13" fmla="*/ 85 h 240"/>
                    <a:gd name="T14" fmla="*/ 153 w 240"/>
                    <a:gd name="T15" fmla="*/ 76 h 240"/>
                    <a:gd name="T16" fmla="*/ 183 w 240"/>
                    <a:gd name="T17" fmla="*/ 81 h 240"/>
                    <a:gd name="T18" fmla="*/ 213 w 240"/>
                    <a:gd name="T19" fmla="*/ 70 h 240"/>
                    <a:gd name="T20" fmla="*/ 191 w 240"/>
                    <a:gd name="T21" fmla="*/ 61 h 240"/>
                    <a:gd name="T22" fmla="*/ 175 w 240"/>
                    <a:gd name="T23" fmla="*/ 55 h 240"/>
                    <a:gd name="T24" fmla="*/ 164 w 240"/>
                    <a:gd name="T25" fmla="*/ 53 h 240"/>
                    <a:gd name="T26" fmla="*/ 149 w 240"/>
                    <a:gd name="T27" fmla="*/ 58 h 240"/>
                    <a:gd name="T28" fmla="*/ 166 w 240"/>
                    <a:gd name="T29" fmla="*/ 32 h 240"/>
                    <a:gd name="T30" fmla="*/ 147 w 240"/>
                    <a:gd name="T31" fmla="*/ 22 h 240"/>
                    <a:gd name="T32" fmla="*/ 137 w 240"/>
                    <a:gd name="T33" fmla="*/ 9 h 240"/>
                    <a:gd name="T34" fmla="*/ 96 w 240"/>
                    <a:gd name="T35" fmla="*/ 34 h 240"/>
                    <a:gd name="T36" fmla="*/ 54 w 240"/>
                    <a:gd name="T37" fmla="*/ 85 h 240"/>
                    <a:gd name="T38" fmla="*/ 35 w 240"/>
                    <a:gd name="T39" fmla="*/ 78 h 240"/>
                    <a:gd name="T40" fmla="*/ 41 w 240"/>
                    <a:gd name="T41" fmla="*/ 105 h 240"/>
                    <a:gd name="T42" fmla="*/ 29 w 240"/>
                    <a:gd name="T43" fmla="*/ 111 h 240"/>
                    <a:gd name="T44" fmla="*/ 18 w 240"/>
                    <a:gd name="T45" fmla="*/ 73 h 240"/>
                    <a:gd name="T46" fmla="*/ 8 w 240"/>
                    <a:gd name="T47" fmla="*/ 120 h 240"/>
                    <a:gd name="T48" fmla="*/ 17 w 240"/>
                    <a:gd name="T49" fmla="*/ 106 h 240"/>
                    <a:gd name="T50" fmla="*/ 46 w 240"/>
                    <a:gd name="T51" fmla="*/ 128 h 240"/>
                    <a:gd name="T52" fmla="*/ 68 w 240"/>
                    <a:gd name="T53" fmla="*/ 190 h 240"/>
                    <a:gd name="T54" fmla="*/ 77 w 240"/>
                    <a:gd name="T55" fmla="*/ 223 h 240"/>
                    <a:gd name="T56" fmla="*/ 85 w 240"/>
                    <a:gd name="T57" fmla="*/ 219 h 240"/>
                    <a:gd name="T58" fmla="*/ 81 w 240"/>
                    <a:gd name="T59" fmla="*/ 211 h 240"/>
                    <a:gd name="T60" fmla="*/ 68 w 240"/>
                    <a:gd name="T61" fmla="*/ 167 h 240"/>
                    <a:gd name="T62" fmla="*/ 68 w 240"/>
                    <a:gd name="T63" fmla="*/ 121 h 240"/>
                    <a:gd name="T64" fmla="*/ 112 w 240"/>
                    <a:gd name="T65" fmla="*/ 144 h 240"/>
                    <a:gd name="T66" fmla="*/ 125 w 240"/>
                    <a:gd name="T67" fmla="*/ 149 h 240"/>
                    <a:gd name="T68" fmla="*/ 99 w 240"/>
                    <a:gd name="T69" fmla="*/ 201 h 240"/>
                    <a:gd name="T70" fmla="*/ 120 w 240"/>
                    <a:gd name="T71" fmla="*/ 232 h 240"/>
                    <a:gd name="T72" fmla="*/ 98 w 240"/>
                    <a:gd name="T73" fmla="*/ 211 h 240"/>
                    <a:gd name="T74" fmla="*/ 128 w 240"/>
                    <a:gd name="T75" fmla="*/ 158 h 240"/>
                    <a:gd name="T76" fmla="*/ 122 w 240"/>
                    <a:gd name="T77" fmla="*/ 138 h 240"/>
                    <a:gd name="T78" fmla="*/ 70 w 240"/>
                    <a:gd name="T79" fmla="*/ 113 h 240"/>
                    <a:gd name="T80" fmla="*/ 50 w 240"/>
                    <a:gd name="T81" fmla="*/ 109 h 240"/>
                    <a:gd name="T82" fmla="*/ 39 w 240"/>
                    <a:gd name="T83" fmla="*/ 97 h 240"/>
                    <a:gd name="T84" fmla="*/ 39 w 240"/>
                    <a:gd name="T85" fmla="*/ 85 h 240"/>
                    <a:gd name="T86" fmla="*/ 50 w 240"/>
                    <a:gd name="T87" fmla="*/ 97 h 240"/>
                    <a:gd name="T88" fmla="*/ 93 w 240"/>
                    <a:gd name="T89" fmla="*/ 47 h 240"/>
                    <a:gd name="T90" fmla="*/ 105 w 240"/>
                    <a:gd name="T91" fmla="*/ 45 h 240"/>
                    <a:gd name="T92" fmla="*/ 103 w 240"/>
                    <a:gd name="T93" fmla="*/ 36 h 240"/>
                    <a:gd name="T94" fmla="*/ 129 w 240"/>
                    <a:gd name="T95" fmla="*/ 8 h 240"/>
                    <a:gd name="T96" fmla="*/ 143 w 240"/>
                    <a:gd name="T97" fmla="*/ 29 h 240"/>
                    <a:gd name="T98" fmla="*/ 159 w 240"/>
                    <a:gd name="T99" fmla="*/ 29 h 240"/>
                    <a:gd name="T100" fmla="*/ 140 w 240"/>
                    <a:gd name="T101" fmla="*/ 61 h 240"/>
                    <a:gd name="T102" fmla="*/ 163 w 240"/>
                    <a:gd name="T103" fmla="*/ 63 h 240"/>
                    <a:gd name="T104" fmla="*/ 185 w 240"/>
                    <a:gd name="T105" fmla="*/ 68 h 240"/>
                    <a:gd name="T106" fmla="*/ 202 w 240"/>
                    <a:gd name="T107" fmla="*/ 65 h 240"/>
                    <a:gd name="T108" fmla="*/ 193 w 240"/>
                    <a:gd name="T109" fmla="*/ 72 h 240"/>
                    <a:gd name="T110" fmla="*/ 159 w 240"/>
                    <a:gd name="T111" fmla="*/ 67 h 240"/>
                    <a:gd name="T112" fmla="*/ 144 w 240"/>
                    <a:gd name="T113" fmla="*/ 76 h 240"/>
                    <a:gd name="T114" fmla="*/ 134 w 240"/>
                    <a:gd name="T115" fmla="*/ 90 h 240"/>
                    <a:gd name="T116" fmla="*/ 164 w 240"/>
                    <a:gd name="T117" fmla="*/ 125 h 240"/>
                    <a:gd name="T118" fmla="*/ 193 w 240"/>
                    <a:gd name="T119" fmla="*/ 152 h 240"/>
                    <a:gd name="T120" fmla="*/ 198 w 240"/>
                    <a:gd name="T121" fmla="*/ 177 h 240"/>
                    <a:gd name="T122" fmla="*/ 219 w 240"/>
                    <a:gd name="T123" fmla="*/ 148 h 240"/>
                    <a:gd name="T124" fmla="*/ 232 w 240"/>
                    <a:gd name="T125" fmla="*/ 11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40" h="240">
                      <a:moveTo>
                        <a:pt x="120" y="0"/>
                      </a:moveTo>
                      <a:cubicBezTo>
                        <a:pt x="54" y="0"/>
                        <a:pt x="0" y="54"/>
                        <a:pt x="0" y="120"/>
                      </a:cubicBezTo>
                      <a:cubicBezTo>
                        <a:pt x="0" y="186"/>
                        <a:pt x="54" y="240"/>
                        <a:pt x="120" y="240"/>
                      </a:cubicBezTo>
                      <a:cubicBezTo>
                        <a:pt x="186" y="240"/>
                        <a:pt x="240" y="186"/>
                        <a:pt x="240" y="120"/>
                      </a:cubicBezTo>
                      <a:cubicBezTo>
                        <a:pt x="240" y="54"/>
                        <a:pt x="186" y="0"/>
                        <a:pt x="120" y="0"/>
                      </a:cubicBezTo>
                      <a:close/>
                      <a:moveTo>
                        <a:pt x="230" y="99"/>
                      </a:moveTo>
                      <a:cubicBezTo>
                        <a:pt x="230" y="100"/>
                        <a:pt x="230" y="101"/>
                        <a:pt x="230" y="101"/>
                      </a:cubicBezTo>
                      <a:cubicBezTo>
                        <a:pt x="229" y="108"/>
                        <a:pt x="222" y="119"/>
                        <a:pt x="218" y="125"/>
                      </a:cubicBezTo>
                      <a:cubicBezTo>
                        <a:pt x="217" y="127"/>
                        <a:pt x="217" y="127"/>
                        <a:pt x="217" y="127"/>
                      </a:cubicBezTo>
                      <a:cubicBezTo>
                        <a:pt x="213" y="132"/>
                        <a:pt x="212" y="140"/>
                        <a:pt x="211" y="147"/>
                      </a:cubicBezTo>
                      <a:cubicBezTo>
                        <a:pt x="210" y="151"/>
                        <a:pt x="209" y="155"/>
                        <a:pt x="208" y="157"/>
                      </a:cubicBezTo>
                      <a:cubicBezTo>
                        <a:pt x="207" y="160"/>
                        <a:pt x="204" y="164"/>
                        <a:pt x="202" y="167"/>
                      </a:cubicBezTo>
                      <a:cubicBezTo>
                        <a:pt x="202" y="165"/>
                        <a:pt x="203" y="163"/>
                        <a:pt x="204" y="162"/>
                      </a:cubicBezTo>
                      <a:cubicBezTo>
                        <a:pt x="206" y="156"/>
                        <a:pt x="202" y="151"/>
                        <a:pt x="200" y="148"/>
                      </a:cubicBezTo>
                      <a:cubicBezTo>
                        <a:pt x="199" y="146"/>
                        <a:pt x="198" y="145"/>
                        <a:pt x="198" y="144"/>
                      </a:cubicBezTo>
                      <a:cubicBezTo>
                        <a:pt x="198" y="144"/>
                        <a:pt x="189" y="120"/>
                        <a:pt x="184" y="119"/>
                      </a:cubicBezTo>
                      <a:cubicBezTo>
                        <a:pt x="183" y="118"/>
                        <a:pt x="167" y="116"/>
                        <a:pt x="162" y="118"/>
                      </a:cubicBezTo>
                      <a:cubicBezTo>
                        <a:pt x="159" y="119"/>
                        <a:pt x="151" y="118"/>
                        <a:pt x="147" y="115"/>
                      </a:cubicBezTo>
                      <a:cubicBezTo>
                        <a:pt x="145" y="113"/>
                        <a:pt x="143" y="105"/>
                        <a:pt x="142" y="91"/>
                      </a:cubicBezTo>
                      <a:cubicBezTo>
                        <a:pt x="142" y="90"/>
                        <a:pt x="142" y="90"/>
                        <a:pt x="142" y="90"/>
                      </a:cubicBezTo>
                      <a:cubicBezTo>
                        <a:pt x="142" y="88"/>
                        <a:pt x="143" y="87"/>
                        <a:pt x="146" y="85"/>
                      </a:cubicBezTo>
                      <a:cubicBezTo>
                        <a:pt x="147" y="84"/>
                        <a:pt x="149" y="82"/>
                        <a:pt x="150" y="80"/>
                      </a:cubicBezTo>
                      <a:cubicBezTo>
                        <a:pt x="151" y="79"/>
                        <a:pt x="151" y="79"/>
                        <a:pt x="151" y="79"/>
                      </a:cubicBezTo>
                      <a:cubicBezTo>
                        <a:pt x="151" y="78"/>
                        <a:pt x="152" y="76"/>
                        <a:pt x="153" y="76"/>
                      </a:cubicBezTo>
                      <a:cubicBezTo>
                        <a:pt x="157" y="77"/>
                        <a:pt x="161" y="75"/>
                        <a:pt x="162" y="74"/>
                      </a:cubicBezTo>
                      <a:cubicBezTo>
                        <a:pt x="164" y="74"/>
                        <a:pt x="167" y="75"/>
                        <a:pt x="171" y="76"/>
                      </a:cubicBezTo>
                      <a:cubicBezTo>
                        <a:pt x="174" y="78"/>
                        <a:pt x="178" y="80"/>
                        <a:pt x="183" y="81"/>
                      </a:cubicBezTo>
                      <a:cubicBezTo>
                        <a:pt x="190" y="82"/>
                        <a:pt x="193" y="81"/>
                        <a:pt x="196" y="79"/>
                      </a:cubicBezTo>
                      <a:cubicBezTo>
                        <a:pt x="198" y="79"/>
                        <a:pt x="200" y="78"/>
                        <a:pt x="204" y="77"/>
                      </a:cubicBezTo>
                      <a:cubicBezTo>
                        <a:pt x="210" y="75"/>
                        <a:pt x="212" y="72"/>
                        <a:pt x="213" y="70"/>
                      </a:cubicBezTo>
                      <a:cubicBezTo>
                        <a:pt x="214" y="63"/>
                        <a:pt x="206" y="58"/>
                        <a:pt x="206" y="58"/>
                      </a:cubicBezTo>
                      <a:cubicBezTo>
                        <a:pt x="202" y="56"/>
                        <a:pt x="199" y="58"/>
                        <a:pt x="195" y="59"/>
                      </a:cubicBezTo>
                      <a:cubicBezTo>
                        <a:pt x="194" y="60"/>
                        <a:pt x="192" y="61"/>
                        <a:pt x="191" y="61"/>
                      </a:cubicBezTo>
                      <a:cubicBezTo>
                        <a:pt x="190" y="62"/>
                        <a:pt x="190" y="62"/>
                        <a:pt x="188" y="61"/>
                      </a:cubicBezTo>
                      <a:cubicBezTo>
                        <a:pt x="186" y="60"/>
                        <a:pt x="183" y="59"/>
                        <a:pt x="179" y="58"/>
                      </a:cubicBezTo>
                      <a:cubicBezTo>
                        <a:pt x="176" y="58"/>
                        <a:pt x="176" y="57"/>
                        <a:pt x="175" y="55"/>
                      </a:cubicBezTo>
                      <a:cubicBezTo>
                        <a:pt x="175" y="54"/>
                        <a:pt x="174" y="51"/>
                        <a:pt x="172" y="50"/>
                      </a:cubicBezTo>
                      <a:cubicBezTo>
                        <a:pt x="170" y="49"/>
                        <a:pt x="169" y="49"/>
                        <a:pt x="167" y="49"/>
                      </a:cubicBezTo>
                      <a:cubicBezTo>
                        <a:pt x="165" y="50"/>
                        <a:pt x="164" y="52"/>
                        <a:pt x="164" y="53"/>
                      </a:cubicBezTo>
                      <a:cubicBezTo>
                        <a:pt x="163" y="54"/>
                        <a:pt x="163" y="55"/>
                        <a:pt x="161" y="55"/>
                      </a:cubicBezTo>
                      <a:cubicBezTo>
                        <a:pt x="158" y="56"/>
                        <a:pt x="157" y="57"/>
                        <a:pt x="155" y="57"/>
                      </a:cubicBezTo>
                      <a:cubicBezTo>
                        <a:pt x="153" y="59"/>
                        <a:pt x="152" y="59"/>
                        <a:pt x="149" y="58"/>
                      </a:cubicBezTo>
                      <a:cubicBezTo>
                        <a:pt x="149" y="57"/>
                        <a:pt x="150" y="56"/>
                        <a:pt x="151" y="55"/>
                      </a:cubicBezTo>
                      <a:cubicBezTo>
                        <a:pt x="152" y="55"/>
                        <a:pt x="152" y="54"/>
                        <a:pt x="153" y="54"/>
                      </a:cubicBezTo>
                      <a:cubicBezTo>
                        <a:pt x="156" y="49"/>
                        <a:pt x="164" y="38"/>
                        <a:pt x="166" y="32"/>
                      </a:cubicBezTo>
                      <a:cubicBezTo>
                        <a:pt x="168" y="28"/>
                        <a:pt x="167" y="25"/>
                        <a:pt x="165" y="23"/>
                      </a:cubicBezTo>
                      <a:cubicBezTo>
                        <a:pt x="162" y="20"/>
                        <a:pt x="157" y="21"/>
                        <a:pt x="152" y="22"/>
                      </a:cubicBezTo>
                      <a:cubicBezTo>
                        <a:pt x="149" y="23"/>
                        <a:pt x="149" y="23"/>
                        <a:pt x="147" y="22"/>
                      </a:cubicBezTo>
                      <a:cubicBezTo>
                        <a:pt x="145" y="21"/>
                        <a:pt x="143" y="20"/>
                        <a:pt x="140" y="19"/>
                      </a:cubicBezTo>
                      <a:cubicBezTo>
                        <a:pt x="137" y="18"/>
                        <a:pt x="137" y="16"/>
                        <a:pt x="137" y="10"/>
                      </a:cubicBezTo>
                      <a:cubicBezTo>
                        <a:pt x="137" y="10"/>
                        <a:pt x="137" y="9"/>
                        <a:pt x="137" y="9"/>
                      </a:cubicBezTo>
                      <a:cubicBezTo>
                        <a:pt x="184" y="16"/>
                        <a:pt x="221" y="53"/>
                        <a:pt x="230" y="99"/>
                      </a:cubicBezTo>
                      <a:close/>
                      <a:moveTo>
                        <a:pt x="91" y="12"/>
                      </a:moveTo>
                      <a:cubicBezTo>
                        <a:pt x="94" y="19"/>
                        <a:pt x="98" y="30"/>
                        <a:pt x="96" y="34"/>
                      </a:cubicBezTo>
                      <a:cubicBezTo>
                        <a:pt x="95" y="35"/>
                        <a:pt x="95" y="37"/>
                        <a:pt x="96" y="38"/>
                      </a:cubicBezTo>
                      <a:cubicBezTo>
                        <a:pt x="93" y="38"/>
                        <a:pt x="89" y="39"/>
                        <a:pt x="87" y="41"/>
                      </a:cubicBezTo>
                      <a:cubicBezTo>
                        <a:pt x="76" y="51"/>
                        <a:pt x="55" y="76"/>
                        <a:pt x="54" y="85"/>
                      </a:cubicBezTo>
                      <a:cubicBezTo>
                        <a:pt x="54" y="85"/>
                        <a:pt x="54" y="86"/>
                        <a:pt x="53" y="86"/>
                      </a:cubicBezTo>
                      <a:cubicBezTo>
                        <a:pt x="51" y="83"/>
                        <a:pt x="48" y="79"/>
                        <a:pt x="43" y="77"/>
                      </a:cubicBezTo>
                      <a:cubicBezTo>
                        <a:pt x="40" y="76"/>
                        <a:pt x="37" y="77"/>
                        <a:pt x="35" y="78"/>
                      </a:cubicBezTo>
                      <a:cubicBezTo>
                        <a:pt x="28" y="82"/>
                        <a:pt x="25" y="91"/>
                        <a:pt x="26" y="98"/>
                      </a:cubicBezTo>
                      <a:cubicBezTo>
                        <a:pt x="27" y="103"/>
                        <a:pt x="29" y="106"/>
                        <a:pt x="33" y="107"/>
                      </a:cubicBezTo>
                      <a:cubicBezTo>
                        <a:pt x="37" y="107"/>
                        <a:pt x="39" y="106"/>
                        <a:pt x="41" y="105"/>
                      </a:cubicBezTo>
                      <a:cubicBezTo>
                        <a:pt x="42" y="107"/>
                        <a:pt x="42" y="109"/>
                        <a:pt x="43" y="111"/>
                      </a:cubicBezTo>
                      <a:cubicBezTo>
                        <a:pt x="44" y="114"/>
                        <a:pt x="44" y="117"/>
                        <a:pt x="44" y="119"/>
                      </a:cubicBezTo>
                      <a:cubicBezTo>
                        <a:pt x="38" y="117"/>
                        <a:pt x="31" y="114"/>
                        <a:pt x="29" y="111"/>
                      </a:cubicBezTo>
                      <a:cubicBezTo>
                        <a:pt x="27" y="110"/>
                        <a:pt x="26" y="107"/>
                        <a:pt x="25" y="104"/>
                      </a:cubicBezTo>
                      <a:cubicBezTo>
                        <a:pt x="24" y="101"/>
                        <a:pt x="23" y="98"/>
                        <a:pt x="21" y="96"/>
                      </a:cubicBezTo>
                      <a:cubicBezTo>
                        <a:pt x="20" y="94"/>
                        <a:pt x="18" y="80"/>
                        <a:pt x="18" y="73"/>
                      </a:cubicBezTo>
                      <a:cubicBezTo>
                        <a:pt x="19" y="73"/>
                        <a:pt x="18" y="73"/>
                        <a:pt x="18" y="73"/>
                      </a:cubicBezTo>
                      <a:cubicBezTo>
                        <a:pt x="32" y="43"/>
                        <a:pt x="59" y="20"/>
                        <a:pt x="91" y="12"/>
                      </a:cubicBezTo>
                      <a:close/>
                      <a:moveTo>
                        <a:pt x="8" y="120"/>
                      </a:moveTo>
                      <a:cubicBezTo>
                        <a:pt x="8" y="110"/>
                        <a:pt x="9" y="101"/>
                        <a:pt x="12" y="92"/>
                      </a:cubicBezTo>
                      <a:cubicBezTo>
                        <a:pt x="13" y="96"/>
                        <a:pt x="14" y="100"/>
                        <a:pt x="16" y="102"/>
                      </a:cubicBezTo>
                      <a:cubicBezTo>
                        <a:pt x="16" y="102"/>
                        <a:pt x="17" y="105"/>
                        <a:pt x="17" y="106"/>
                      </a:cubicBezTo>
                      <a:cubicBezTo>
                        <a:pt x="18" y="109"/>
                        <a:pt x="19" y="114"/>
                        <a:pt x="23" y="118"/>
                      </a:cubicBezTo>
                      <a:cubicBezTo>
                        <a:pt x="29" y="123"/>
                        <a:pt x="45" y="127"/>
                        <a:pt x="46" y="128"/>
                      </a:cubicBezTo>
                      <a:cubicBezTo>
                        <a:pt x="46" y="128"/>
                        <a:pt x="46" y="128"/>
                        <a:pt x="46" y="128"/>
                      </a:cubicBezTo>
                      <a:cubicBezTo>
                        <a:pt x="44" y="136"/>
                        <a:pt x="44" y="147"/>
                        <a:pt x="44" y="147"/>
                      </a:cubicBezTo>
                      <a:cubicBezTo>
                        <a:pt x="45" y="153"/>
                        <a:pt x="51" y="164"/>
                        <a:pt x="63" y="173"/>
                      </a:cubicBezTo>
                      <a:cubicBezTo>
                        <a:pt x="69" y="178"/>
                        <a:pt x="69" y="184"/>
                        <a:pt x="68" y="190"/>
                      </a:cubicBezTo>
                      <a:cubicBezTo>
                        <a:pt x="68" y="192"/>
                        <a:pt x="68" y="194"/>
                        <a:pt x="68" y="196"/>
                      </a:cubicBezTo>
                      <a:cubicBezTo>
                        <a:pt x="68" y="201"/>
                        <a:pt x="71" y="208"/>
                        <a:pt x="74" y="214"/>
                      </a:cubicBezTo>
                      <a:cubicBezTo>
                        <a:pt x="75" y="217"/>
                        <a:pt x="77" y="220"/>
                        <a:pt x="77" y="223"/>
                      </a:cubicBezTo>
                      <a:cubicBezTo>
                        <a:pt x="77" y="223"/>
                        <a:pt x="78" y="223"/>
                        <a:pt x="78" y="224"/>
                      </a:cubicBezTo>
                      <a:cubicBezTo>
                        <a:pt x="37" y="207"/>
                        <a:pt x="8" y="167"/>
                        <a:pt x="8" y="120"/>
                      </a:cubicBezTo>
                      <a:close/>
                      <a:moveTo>
                        <a:pt x="85" y="219"/>
                      </a:moveTo>
                      <a:cubicBezTo>
                        <a:pt x="85" y="220"/>
                        <a:pt x="85" y="221"/>
                        <a:pt x="86" y="222"/>
                      </a:cubicBezTo>
                      <a:cubicBezTo>
                        <a:pt x="85" y="221"/>
                        <a:pt x="85" y="221"/>
                        <a:pt x="85" y="220"/>
                      </a:cubicBezTo>
                      <a:cubicBezTo>
                        <a:pt x="84" y="217"/>
                        <a:pt x="83" y="214"/>
                        <a:pt x="81" y="211"/>
                      </a:cubicBezTo>
                      <a:cubicBezTo>
                        <a:pt x="79" y="206"/>
                        <a:pt x="76" y="199"/>
                        <a:pt x="76" y="196"/>
                      </a:cubicBezTo>
                      <a:cubicBezTo>
                        <a:pt x="76" y="194"/>
                        <a:pt x="76" y="193"/>
                        <a:pt x="76" y="191"/>
                      </a:cubicBezTo>
                      <a:cubicBezTo>
                        <a:pt x="77" y="184"/>
                        <a:pt x="78" y="174"/>
                        <a:pt x="68" y="167"/>
                      </a:cubicBezTo>
                      <a:cubicBezTo>
                        <a:pt x="57" y="159"/>
                        <a:pt x="52" y="150"/>
                        <a:pt x="52" y="146"/>
                      </a:cubicBezTo>
                      <a:cubicBezTo>
                        <a:pt x="52" y="142"/>
                        <a:pt x="53" y="131"/>
                        <a:pt x="55" y="128"/>
                      </a:cubicBezTo>
                      <a:cubicBezTo>
                        <a:pt x="58" y="127"/>
                        <a:pt x="64" y="125"/>
                        <a:pt x="68" y="121"/>
                      </a:cubicBezTo>
                      <a:cubicBezTo>
                        <a:pt x="68" y="121"/>
                        <a:pt x="69" y="121"/>
                        <a:pt x="70" y="121"/>
                      </a:cubicBezTo>
                      <a:cubicBezTo>
                        <a:pt x="74" y="121"/>
                        <a:pt x="80" y="123"/>
                        <a:pt x="85" y="127"/>
                      </a:cubicBezTo>
                      <a:cubicBezTo>
                        <a:pt x="94" y="135"/>
                        <a:pt x="102" y="142"/>
                        <a:pt x="112" y="144"/>
                      </a:cubicBezTo>
                      <a:cubicBezTo>
                        <a:pt x="116" y="145"/>
                        <a:pt x="119" y="146"/>
                        <a:pt x="121" y="146"/>
                      </a:cubicBezTo>
                      <a:cubicBezTo>
                        <a:pt x="123" y="146"/>
                        <a:pt x="125" y="146"/>
                        <a:pt x="126" y="147"/>
                      </a:cubicBezTo>
                      <a:cubicBezTo>
                        <a:pt x="126" y="148"/>
                        <a:pt x="126" y="148"/>
                        <a:pt x="125" y="149"/>
                      </a:cubicBezTo>
                      <a:cubicBezTo>
                        <a:pt x="123" y="150"/>
                        <a:pt x="122" y="152"/>
                        <a:pt x="121" y="154"/>
                      </a:cubicBezTo>
                      <a:cubicBezTo>
                        <a:pt x="120" y="155"/>
                        <a:pt x="120" y="158"/>
                        <a:pt x="118" y="161"/>
                      </a:cubicBezTo>
                      <a:cubicBezTo>
                        <a:pt x="115" y="171"/>
                        <a:pt x="105" y="196"/>
                        <a:pt x="99" y="201"/>
                      </a:cubicBezTo>
                      <a:cubicBezTo>
                        <a:pt x="97" y="202"/>
                        <a:pt x="95" y="203"/>
                        <a:pt x="94" y="204"/>
                      </a:cubicBezTo>
                      <a:cubicBezTo>
                        <a:pt x="88" y="208"/>
                        <a:pt x="85" y="210"/>
                        <a:pt x="85" y="219"/>
                      </a:cubicBezTo>
                      <a:close/>
                      <a:moveTo>
                        <a:pt x="120" y="232"/>
                      </a:moveTo>
                      <a:cubicBezTo>
                        <a:pt x="111" y="232"/>
                        <a:pt x="102" y="231"/>
                        <a:pt x="94" y="229"/>
                      </a:cubicBezTo>
                      <a:cubicBezTo>
                        <a:pt x="94" y="228"/>
                        <a:pt x="94" y="225"/>
                        <a:pt x="93" y="218"/>
                      </a:cubicBezTo>
                      <a:cubicBezTo>
                        <a:pt x="93" y="214"/>
                        <a:pt x="93" y="214"/>
                        <a:pt x="98" y="211"/>
                      </a:cubicBezTo>
                      <a:cubicBezTo>
                        <a:pt x="99" y="210"/>
                        <a:pt x="101" y="209"/>
                        <a:pt x="103" y="207"/>
                      </a:cubicBezTo>
                      <a:cubicBezTo>
                        <a:pt x="111" y="202"/>
                        <a:pt x="119" y="182"/>
                        <a:pt x="126" y="164"/>
                      </a:cubicBezTo>
                      <a:cubicBezTo>
                        <a:pt x="127" y="161"/>
                        <a:pt x="128" y="159"/>
                        <a:pt x="128" y="158"/>
                      </a:cubicBezTo>
                      <a:cubicBezTo>
                        <a:pt x="129" y="157"/>
                        <a:pt x="129" y="156"/>
                        <a:pt x="130" y="155"/>
                      </a:cubicBezTo>
                      <a:cubicBezTo>
                        <a:pt x="132" y="153"/>
                        <a:pt x="135" y="150"/>
                        <a:pt x="134" y="145"/>
                      </a:cubicBezTo>
                      <a:cubicBezTo>
                        <a:pt x="132" y="139"/>
                        <a:pt x="127" y="138"/>
                        <a:pt x="122" y="138"/>
                      </a:cubicBezTo>
                      <a:cubicBezTo>
                        <a:pt x="120" y="138"/>
                        <a:pt x="117" y="137"/>
                        <a:pt x="114" y="137"/>
                      </a:cubicBezTo>
                      <a:cubicBezTo>
                        <a:pt x="105" y="135"/>
                        <a:pt x="99" y="129"/>
                        <a:pt x="91" y="122"/>
                      </a:cubicBezTo>
                      <a:cubicBezTo>
                        <a:pt x="85" y="116"/>
                        <a:pt x="77" y="113"/>
                        <a:pt x="70" y="113"/>
                      </a:cubicBezTo>
                      <a:cubicBezTo>
                        <a:pt x="67" y="113"/>
                        <a:pt x="64" y="113"/>
                        <a:pt x="62" y="115"/>
                      </a:cubicBezTo>
                      <a:cubicBezTo>
                        <a:pt x="60" y="117"/>
                        <a:pt x="55" y="119"/>
                        <a:pt x="52" y="120"/>
                      </a:cubicBezTo>
                      <a:cubicBezTo>
                        <a:pt x="52" y="117"/>
                        <a:pt x="52" y="113"/>
                        <a:pt x="50" y="109"/>
                      </a:cubicBezTo>
                      <a:cubicBezTo>
                        <a:pt x="49" y="106"/>
                        <a:pt x="49" y="104"/>
                        <a:pt x="49" y="103"/>
                      </a:cubicBezTo>
                      <a:cubicBezTo>
                        <a:pt x="49" y="102"/>
                        <a:pt x="49" y="99"/>
                        <a:pt x="47" y="97"/>
                      </a:cubicBezTo>
                      <a:cubicBezTo>
                        <a:pt x="44" y="95"/>
                        <a:pt x="41" y="96"/>
                        <a:pt x="39" y="97"/>
                      </a:cubicBezTo>
                      <a:cubicBezTo>
                        <a:pt x="37" y="98"/>
                        <a:pt x="36" y="99"/>
                        <a:pt x="35" y="99"/>
                      </a:cubicBezTo>
                      <a:cubicBezTo>
                        <a:pt x="34" y="99"/>
                        <a:pt x="34" y="97"/>
                        <a:pt x="34" y="94"/>
                      </a:cubicBezTo>
                      <a:cubicBezTo>
                        <a:pt x="34" y="91"/>
                        <a:pt x="36" y="87"/>
                        <a:pt x="39" y="85"/>
                      </a:cubicBezTo>
                      <a:cubicBezTo>
                        <a:pt x="39" y="85"/>
                        <a:pt x="40" y="85"/>
                        <a:pt x="41" y="85"/>
                      </a:cubicBezTo>
                      <a:cubicBezTo>
                        <a:pt x="44" y="86"/>
                        <a:pt x="47" y="91"/>
                        <a:pt x="49" y="94"/>
                      </a:cubicBezTo>
                      <a:cubicBezTo>
                        <a:pt x="50" y="97"/>
                        <a:pt x="50" y="97"/>
                        <a:pt x="50" y="97"/>
                      </a:cubicBezTo>
                      <a:cubicBezTo>
                        <a:pt x="52" y="97"/>
                        <a:pt x="52" y="97"/>
                        <a:pt x="52" y="97"/>
                      </a:cubicBezTo>
                      <a:cubicBezTo>
                        <a:pt x="52" y="97"/>
                        <a:pt x="60" y="97"/>
                        <a:pt x="62" y="86"/>
                      </a:cubicBezTo>
                      <a:cubicBezTo>
                        <a:pt x="62" y="81"/>
                        <a:pt x="79" y="59"/>
                        <a:pt x="93" y="47"/>
                      </a:cubicBezTo>
                      <a:cubicBezTo>
                        <a:pt x="93" y="46"/>
                        <a:pt x="96" y="46"/>
                        <a:pt x="97" y="46"/>
                      </a:cubicBezTo>
                      <a:cubicBezTo>
                        <a:pt x="100" y="47"/>
                        <a:pt x="102" y="47"/>
                        <a:pt x="104" y="46"/>
                      </a:cubicBezTo>
                      <a:cubicBezTo>
                        <a:pt x="105" y="45"/>
                        <a:pt x="105" y="45"/>
                        <a:pt x="105" y="45"/>
                      </a:cubicBezTo>
                      <a:cubicBezTo>
                        <a:pt x="106" y="43"/>
                        <a:pt x="106" y="43"/>
                        <a:pt x="106" y="43"/>
                      </a:cubicBezTo>
                      <a:cubicBezTo>
                        <a:pt x="106" y="41"/>
                        <a:pt x="105" y="39"/>
                        <a:pt x="104" y="37"/>
                      </a:cubicBezTo>
                      <a:cubicBezTo>
                        <a:pt x="104" y="36"/>
                        <a:pt x="104" y="36"/>
                        <a:pt x="103" y="36"/>
                      </a:cubicBezTo>
                      <a:cubicBezTo>
                        <a:pt x="106" y="28"/>
                        <a:pt x="102" y="15"/>
                        <a:pt x="99" y="10"/>
                      </a:cubicBezTo>
                      <a:cubicBezTo>
                        <a:pt x="106" y="9"/>
                        <a:pt x="113" y="8"/>
                        <a:pt x="120" y="8"/>
                      </a:cubicBezTo>
                      <a:cubicBezTo>
                        <a:pt x="123" y="8"/>
                        <a:pt x="126" y="8"/>
                        <a:pt x="129" y="8"/>
                      </a:cubicBezTo>
                      <a:cubicBezTo>
                        <a:pt x="129" y="9"/>
                        <a:pt x="129" y="9"/>
                        <a:pt x="129" y="10"/>
                      </a:cubicBezTo>
                      <a:cubicBezTo>
                        <a:pt x="129" y="14"/>
                        <a:pt x="128" y="24"/>
                        <a:pt x="138" y="26"/>
                      </a:cubicBezTo>
                      <a:cubicBezTo>
                        <a:pt x="140" y="27"/>
                        <a:pt x="142" y="28"/>
                        <a:pt x="143" y="29"/>
                      </a:cubicBezTo>
                      <a:cubicBezTo>
                        <a:pt x="146" y="30"/>
                        <a:pt x="148" y="31"/>
                        <a:pt x="154" y="30"/>
                      </a:cubicBezTo>
                      <a:cubicBezTo>
                        <a:pt x="156" y="29"/>
                        <a:pt x="158" y="29"/>
                        <a:pt x="159" y="29"/>
                      </a:cubicBezTo>
                      <a:cubicBezTo>
                        <a:pt x="159" y="29"/>
                        <a:pt x="159" y="29"/>
                        <a:pt x="159" y="29"/>
                      </a:cubicBezTo>
                      <a:cubicBezTo>
                        <a:pt x="157" y="34"/>
                        <a:pt x="150" y="44"/>
                        <a:pt x="147" y="48"/>
                      </a:cubicBezTo>
                      <a:cubicBezTo>
                        <a:pt x="146" y="49"/>
                        <a:pt x="146" y="49"/>
                        <a:pt x="145" y="50"/>
                      </a:cubicBezTo>
                      <a:cubicBezTo>
                        <a:pt x="142" y="53"/>
                        <a:pt x="139" y="57"/>
                        <a:pt x="140" y="61"/>
                      </a:cubicBezTo>
                      <a:cubicBezTo>
                        <a:pt x="141" y="63"/>
                        <a:pt x="143" y="65"/>
                        <a:pt x="147" y="66"/>
                      </a:cubicBezTo>
                      <a:cubicBezTo>
                        <a:pt x="153" y="67"/>
                        <a:pt x="155" y="66"/>
                        <a:pt x="159" y="65"/>
                      </a:cubicBezTo>
                      <a:cubicBezTo>
                        <a:pt x="160" y="64"/>
                        <a:pt x="161" y="63"/>
                        <a:pt x="163" y="63"/>
                      </a:cubicBezTo>
                      <a:cubicBezTo>
                        <a:pt x="166" y="62"/>
                        <a:pt x="167" y="61"/>
                        <a:pt x="168" y="60"/>
                      </a:cubicBezTo>
                      <a:cubicBezTo>
                        <a:pt x="169" y="62"/>
                        <a:pt x="172" y="65"/>
                        <a:pt x="178" y="66"/>
                      </a:cubicBezTo>
                      <a:cubicBezTo>
                        <a:pt x="181" y="67"/>
                        <a:pt x="183" y="68"/>
                        <a:pt x="185" y="68"/>
                      </a:cubicBezTo>
                      <a:cubicBezTo>
                        <a:pt x="187" y="69"/>
                        <a:pt x="190" y="70"/>
                        <a:pt x="193" y="69"/>
                      </a:cubicBezTo>
                      <a:cubicBezTo>
                        <a:pt x="196" y="68"/>
                        <a:pt x="198" y="67"/>
                        <a:pt x="199" y="66"/>
                      </a:cubicBezTo>
                      <a:cubicBezTo>
                        <a:pt x="200" y="66"/>
                        <a:pt x="201" y="65"/>
                        <a:pt x="202" y="65"/>
                      </a:cubicBezTo>
                      <a:cubicBezTo>
                        <a:pt x="203" y="66"/>
                        <a:pt x="204" y="67"/>
                        <a:pt x="205" y="68"/>
                      </a:cubicBezTo>
                      <a:cubicBezTo>
                        <a:pt x="204" y="68"/>
                        <a:pt x="204" y="69"/>
                        <a:pt x="202" y="69"/>
                      </a:cubicBezTo>
                      <a:cubicBezTo>
                        <a:pt x="198" y="70"/>
                        <a:pt x="195" y="71"/>
                        <a:pt x="193" y="72"/>
                      </a:cubicBezTo>
                      <a:cubicBezTo>
                        <a:pt x="190" y="73"/>
                        <a:pt x="189" y="73"/>
                        <a:pt x="184" y="73"/>
                      </a:cubicBezTo>
                      <a:cubicBezTo>
                        <a:pt x="180" y="72"/>
                        <a:pt x="177" y="71"/>
                        <a:pt x="174" y="69"/>
                      </a:cubicBezTo>
                      <a:cubicBezTo>
                        <a:pt x="169" y="67"/>
                        <a:pt x="164" y="65"/>
                        <a:pt x="159" y="67"/>
                      </a:cubicBezTo>
                      <a:cubicBezTo>
                        <a:pt x="158" y="67"/>
                        <a:pt x="158" y="67"/>
                        <a:pt x="158" y="67"/>
                      </a:cubicBezTo>
                      <a:cubicBezTo>
                        <a:pt x="158" y="67"/>
                        <a:pt x="156" y="68"/>
                        <a:pt x="154" y="68"/>
                      </a:cubicBezTo>
                      <a:cubicBezTo>
                        <a:pt x="148" y="67"/>
                        <a:pt x="145" y="72"/>
                        <a:pt x="144" y="76"/>
                      </a:cubicBezTo>
                      <a:cubicBezTo>
                        <a:pt x="143" y="77"/>
                        <a:pt x="143" y="77"/>
                        <a:pt x="143" y="77"/>
                      </a:cubicBezTo>
                      <a:cubicBezTo>
                        <a:pt x="143" y="77"/>
                        <a:pt x="142" y="78"/>
                        <a:pt x="141" y="79"/>
                      </a:cubicBezTo>
                      <a:cubicBezTo>
                        <a:pt x="138" y="81"/>
                        <a:pt x="134" y="84"/>
                        <a:pt x="134" y="90"/>
                      </a:cubicBezTo>
                      <a:cubicBezTo>
                        <a:pt x="134" y="92"/>
                        <a:pt x="134" y="92"/>
                        <a:pt x="134" y="92"/>
                      </a:cubicBezTo>
                      <a:cubicBezTo>
                        <a:pt x="135" y="104"/>
                        <a:pt x="137" y="116"/>
                        <a:pt x="142" y="121"/>
                      </a:cubicBezTo>
                      <a:cubicBezTo>
                        <a:pt x="148" y="127"/>
                        <a:pt x="159" y="127"/>
                        <a:pt x="164" y="125"/>
                      </a:cubicBezTo>
                      <a:cubicBezTo>
                        <a:pt x="167" y="125"/>
                        <a:pt x="177" y="126"/>
                        <a:pt x="181" y="126"/>
                      </a:cubicBezTo>
                      <a:cubicBezTo>
                        <a:pt x="183" y="130"/>
                        <a:pt x="189" y="143"/>
                        <a:pt x="190" y="146"/>
                      </a:cubicBezTo>
                      <a:cubicBezTo>
                        <a:pt x="191" y="148"/>
                        <a:pt x="192" y="150"/>
                        <a:pt x="193" y="152"/>
                      </a:cubicBezTo>
                      <a:cubicBezTo>
                        <a:pt x="195" y="155"/>
                        <a:pt x="197" y="157"/>
                        <a:pt x="196" y="159"/>
                      </a:cubicBezTo>
                      <a:cubicBezTo>
                        <a:pt x="196" y="160"/>
                        <a:pt x="192" y="169"/>
                        <a:pt x="194" y="174"/>
                      </a:cubicBezTo>
                      <a:cubicBezTo>
                        <a:pt x="195" y="176"/>
                        <a:pt x="196" y="177"/>
                        <a:pt x="198" y="177"/>
                      </a:cubicBezTo>
                      <a:cubicBezTo>
                        <a:pt x="198" y="177"/>
                        <a:pt x="199" y="178"/>
                        <a:pt x="199" y="178"/>
                      </a:cubicBezTo>
                      <a:cubicBezTo>
                        <a:pt x="206" y="178"/>
                        <a:pt x="214" y="165"/>
                        <a:pt x="216" y="160"/>
                      </a:cubicBezTo>
                      <a:cubicBezTo>
                        <a:pt x="217" y="157"/>
                        <a:pt x="218" y="153"/>
                        <a:pt x="219" y="148"/>
                      </a:cubicBezTo>
                      <a:cubicBezTo>
                        <a:pt x="220" y="142"/>
                        <a:pt x="221" y="135"/>
                        <a:pt x="223" y="131"/>
                      </a:cubicBezTo>
                      <a:cubicBezTo>
                        <a:pt x="225" y="129"/>
                        <a:pt x="225" y="129"/>
                        <a:pt x="225" y="129"/>
                      </a:cubicBezTo>
                      <a:cubicBezTo>
                        <a:pt x="227" y="126"/>
                        <a:pt x="230" y="122"/>
                        <a:pt x="232" y="118"/>
                      </a:cubicBezTo>
                      <a:cubicBezTo>
                        <a:pt x="232" y="118"/>
                        <a:pt x="232" y="119"/>
                        <a:pt x="232" y="120"/>
                      </a:cubicBezTo>
                      <a:cubicBezTo>
                        <a:pt x="232" y="182"/>
                        <a:pt x="182" y="232"/>
                        <a:pt x="120" y="232"/>
                      </a:cubicBezTo>
                      <a:close/>
                    </a:path>
                  </a:pathLst>
                </a:custGeom>
                <a:solidFill>
                  <a:srgbClr val="023D6B"/>
                </a:solidFill>
                <a:ln>
                  <a:noFill/>
                </a:ln>
              </p:spPr>
              <p:txBody>
                <a:bodyPr vert="horz" wrap="square" lIns="137128" tIns="68564" rIns="137128" bIns="6856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37132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1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60" name="Gerade Verbindung mit Pfeil 104">
                  <a:extLst>
                    <a:ext uri="{FF2B5EF4-FFF2-40B4-BE49-F238E27FC236}">
                      <a16:creationId xmlns:a16="http://schemas.microsoft.com/office/drawing/2014/main" id="{EA362D58-D334-3174-705A-BC12EFB88878}"/>
                    </a:ext>
                  </a:extLst>
                </p:cNvPr>
                <p:cNvCxnSpPr/>
                <p:nvPr/>
              </p:nvCxnSpPr>
              <p:spPr>
                <a:xfrm>
                  <a:off x="6816080" y="2492896"/>
                  <a:ext cx="0" cy="373726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A73B4"/>
                  </a:solidFill>
                  <a:prstDash val="solid"/>
                  <a:tailEnd type="triangle"/>
                </a:ln>
                <a:effectLst/>
              </p:spPr>
            </p:cxnSp>
            <p:cxnSp>
              <p:nvCxnSpPr>
                <p:cNvPr id="61" name="Gerade Verbindung mit Pfeil 105">
                  <a:extLst>
                    <a:ext uri="{FF2B5EF4-FFF2-40B4-BE49-F238E27FC236}">
                      <a16:creationId xmlns:a16="http://schemas.microsoft.com/office/drawing/2014/main" id="{88BD9EB1-BE9C-ADC1-725B-9FB37D432FC6}"/>
                    </a:ext>
                  </a:extLst>
                </p:cNvPr>
                <p:cNvCxnSpPr/>
                <p:nvPr/>
              </p:nvCxnSpPr>
              <p:spPr>
                <a:xfrm flipV="1">
                  <a:off x="8362629" y="2461053"/>
                  <a:ext cx="0" cy="40556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A73B4"/>
                  </a:solidFill>
                  <a:prstDash val="solid"/>
                  <a:tailEnd type="triangle"/>
                </a:ln>
                <a:effectLst/>
              </p:spPr>
            </p:cxnSp>
          </p:grpSp>
        </p:grpSp>
      </p:grpSp>
      <p:grpSp>
        <p:nvGrpSpPr>
          <p:cNvPr id="82" name="LINE ICON - compass">
            <a:extLst>
              <a:ext uri="{FF2B5EF4-FFF2-40B4-BE49-F238E27FC236}">
                <a16:creationId xmlns:a16="http://schemas.microsoft.com/office/drawing/2014/main" id="{6B54F0CF-EA5E-5B22-A97D-3DBA1B783C9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8713" y="4000203"/>
            <a:ext cx="1117975" cy="1117975"/>
            <a:chOff x="8208250" y="4254698"/>
            <a:chExt cx="403724" cy="403724"/>
          </a:xfrm>
          <a:solidFill>
            <a:srgbClr val="023D6B"/>
          </a:solidFill>
        </p:grpSpPr>
        <p:sp>
          <p:nvSpPr>
            <p:cNvPr id="83" name="Freeform 136">
              <a:extLst>
                <a:ext uri="{FF2B5EF4-FFF2-40B4-BE49-F238E27FC236}">
                  <a16:creationId xmlns:a16="http://schemas.microsoft.com/office/drawing/2014/main" id="{299AC837-0DE6-FB7D-DDD5-FF9B3E1268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08250" y="4254698"/>
              <a:ext cx="403724" cy="403724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24 w 240"/>
                <a:gd name="T11" fmla="*/ 232 h 240"/>
                <a:gd name="T12" fmla="*/ 124 w 240"/>
                <a:gd name="T13" fmla="*/ 220 h 240"/>
                <a:gd name="T14" fmla="*/ 120 w 240"/>
                <a:gd name="T15" fmla="*/ 216 h 240"/>
                <a:gd name="T16" fmla="*/ 116 w 240"/>
                <a:gd name="T17" fmla="*/ 220 h 240"/>
                <a:gd name="T18" fmla="*/ 116 w 240"/>
                <a:gd name="T19" fmla="*/ 232 h 240"/>
                <a:gd name="T20" fmla="*/ 8 w 240"/>
                <a:gd name="T21" fmla="*/ 124 h 240"/>
                <a:gd name="T22" fmla="*/ 20 w 240"/>
                <a:gd name="T23" fmla="*/ 124 h 240"/>
                <a:gd name="T24" fmla="*/ 24 w 240"/>
                <a:gd name="T25" fmla="*/ 120 h 240"/>
                <a:gd name="T26" fmla="*/ 20 w 240"/>
                <a:gd name="T27" fmla="*/ 116 h 240"/>
                <a:gd name="T28" fmla="*/ 8 w 240"/>
                <a:gd name="T29" fmla="*/ 116 h 240"/>
                <a:gd name="T30" fmla="*/ 116 w 240"/>
                <a:gd name="T31" fmla="*/ 8 h 240"/>
                <a:gd name="T32" fmla="*/ 116 w 240"/>
                <a:gd name="T33" fmla="*/ 20 h 240"/>
                <a:gd name="T34" fmla="*/ 120 w 240"/>
                <a:gd name="T35" fmla="*/ 24 h 240"/>
                <a:gd name="T36" fmla="*/ 124 w 240"/>
                <a:gd name="T37" fmla="*/ 20 h 240"/>
                <a:gd name="T38" fmla="*/ 124 w 240"/>
                <a:gd name="T39" fmla="*/ 8 h 240"/>
                <a:gd name="T40" fmla="*/ 232 w 240"/>
                <a:gd name="T41" fmla="*/ 116 h 240"/>
                <a:gd name="T42" fmla="*/ 220 w 240"/>
                <a:gd name="T43" fmla="*/ 116 h 240"/>
                <a:gd name="T44" fmla="*/ 216 w 240"/>
                <a:gd name="T45" fmla="*/ 120 h 240"/>
                <a:gd name="T46" fmla="*/ 220 w 240"/>
                <a:gd name="T47" fmla="*/ 124 h 240"/>
                <a:gd name="T48" fmla="*/ 232 w 240"/>
                <a:gd name="T49" fmla="*/ 124 h 240"/>
                <a:gd name="T50" fmla="*/ 124 w 240"/>
                <a:gd name="T51" fmla="*/ 23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24" y="232"/>
                  </a:moveTo>
                  <a:cubicBezTo>
                    <a:pt x="124" y="220"/>
                    <a:pt x="124" y="220"/>
                    <a:pt x="124" y="220"/>
                  </a:cubicBezTo>
                  <a:cubicBezTo>
                    <a:pt x="124" y="218"/>
                    <a:pt x="122" y="216"/>
                    <a:pt x="120" y="216"/>
                  </a:cubicBezTo>
                  <a:cubicBezTo>
                    <a:pt x="118" y="216"/>
                    <a:pt x="116" y="218"/>
                    <a:pt x="116" y="220"/>
                  </a:cubicBezTo>
                  <a:cubicBezTo>
                    <a:pt x="116" y="232"/>
                    <a:pt x="116" y="232"/>
                    <a:pt x="116" y="232"/>
                  </a:cubicBezTo>
                  <a:cubicBezTo>
                    <a:pt x="57" y="230"/>
                    <a:pt x="10" y="183"/>
                    <a:pt x="8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2" y="124"/>
                    <a:pt x="24" y="122"/>
                    <a:pt x="24" y="120"/>
                  </a:cubicBezTo>
                  <a:cubicBezTo>
                    <a:pt x="24" y="118"/>
                    <a:pt x="22" y="116"/>
                    <a:pt x="20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10" y="57"/>
                    <a:pt x="57" y="10"/>
                    <a:pt x="116" y="8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2"/>
                    <a:pt x="118" y="24"/>
                    <a:pt x="120" y="24"/>
                  </a:cubicBezTo>
                  <a:cubicBezTo>
                    <a:pt x="122" y="24"/>
                    <a:pt x="124" y="22"/>
                    <a:pt x="124" y="20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83" y="10"/>
                    <a:pt x="230" y="57"/>
                    <a:pt x="232" y="116"/>
                  </a:cubicBezTo>
                  <a:cubicBezTo>
                    <a:pt x="220" y="116"/>
                    <a:pt x="220" y="116"/>
                    <a:pt x="220" y="116"/>
                  </a:cubicBezTo>
                  <a:cubicBezTo>
                    <a:pt x="218" y="116"/>
                    <a:pt x="216" y="118"/>
                    <a:pt x="216" y="120"/>
                  </a:cubicBezTo>
                  <a:cubicBezTo>
                    <a:pt x="216" y="122"/>
                    <a:pt x="218" y="124"/>
                    <a:pt x="220" y="124"/>
                  </a:cubicBezTo>
                  <a:cubicBezTo>
                    <a:pt x="232" y="124"/>
                    <a:pt x="232" y="124"/>
                    <a:pt x="232" y="124"/>
                  </a:cubicBezTo>
                  <a:cubicBezTo>
                    <a:pt x="230" y="183"/>
                    <a:pt x="183" y="230"/>
                    <a:pt x="12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37128" tIns="68564" rIns="137128" bIns="6856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6324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49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137">
              <a:extLst>
                <a:ext uri="{FF2B5EF4-FFF2-40B4-BE49-F238E27FC236}">
                  <a16:creationId xmlns:a16="http://schemas.microsoft.com/office/drawing/2014/main" id="{0ED44612-4C0A-B8A5-E445-D0A6A6DD7E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5830" y="4342279"/>
              <a:ext cx="228563" cy="228563"/>
            </a:xfrm>
            <a:custGeom>
              <a:avLst/>
              <a:gdLst>
                <a:gd name="T0" fmla="*/ 0 w 321"/>
                <a:gd name="T1" fmla="*/ 321 h 321"/>
                <a:gd name="T2" fmla="*/ 201 w 321"/>
                <a:gd name="T3" fmla="*/ 201 h 321"/>
                <a:gd name="T4" fmla="*/ 321 w 321"/>
                <a:gd name="T5" fmla="*/ 0 h 321"/>
                <a:gd name="T6" fmla="*/ 120 w 321"/>
                <a:gd name="T7" fmla="*/ 120 h 321"/>
                <a:gd name="T8" fmla="*/ 0 w 321"/>
                <a:gd name="T9" fmla="*/ 321 h 321"/>
                <a:gd name="T10" fmla="*/ 135 w 321"/>
                <a:gd name="T11" fmla="*/ 135 h 321"/>
                <a:gd name="T12" fmla="*/ 135 w 321"/>
                <a:gd name="T13" fmla="*/ 135 h 321"/>
                <a:gd name="T14" fmla="*/ 187 w 321"/>
                <a:gd name="T15" fmla="*/ 187 h 321"/>
                <a:gd name="T16" fmla="*/ 54 w 321"/>
                <a:gd name="T17" fmla="*/ 267 h 321"/>
                <a:gd name="T18" fmla="*/ 135 w 321"/>
                <a:gd name="T19" fmla="*/ 1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1" h="321">
                  <a:moveTo>
                    <a:pt x="0" y="321"/>
                  </a:moveTo>
                  <a:lnTo>
                    <a:pt x="201" y="201"/>
                  </a:lnTo>
                  <a:lnTo>
                    <a:pt x="321" y="0"/>
                  </a:lnTo>
                  <a:lnTo>
                    <a:pt x="120" y="120"/>
                  </a:lnTo>
                  <a:lnTo>
                    <a:pt x="0" y="321"/>
                  </a:lnTo>
                  <a:close/>
                  <a:moveTo>
                    <a:pt x="135" y="135"/>
                  </a:moveTo>
                  <a:lnTo>
                    <a:pt x="135" y="135"/>
                  </a:lnTo>
                  <a:lnTo>
                    <a:pt x="187" y="187"/>
                  </a:lnTo>
                  <a:lnTo>
                    <a:pt x="54" y="267"/>
                  </a:lnTo>
                  <a:lnTo>
                    <a:pt x="135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37128" tIns="68564" rIns="137128" bIns="6856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6324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49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976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2" name="Object 181" hidden="1">
            <a:extLst>
              <a:ext uri="{FF2B5EF4-FFF2-40B4-BE49-F238E27FC236}">
                <a16:creationId xmlns:a16="http://schemas.microsoft.com/office/drawing/2014/main" id="{B1C264F3-ED41-464C-93A8-71BDCB00A2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51414"/>
              </p:ext>
            </p:ext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01" imgH="398" progId="TCLayout.ActiveDocument.1">
                  <p:embed/>
                </p:oleObj>
              </mc:Choice>
              <mc:Fallback>
                <p:oleObj name="Diapositiva de think-cell" r:id="rId4" imgW="401" imgH="398" progId="TCLayout.ActiveDocument.1">
                  <p:embed/>
                  <p:pic>
                    <p:nvPicPr>
                      <p:cNvPr id="182" name="Object 181" hidden="1">
                        <a:extLst>
                          <a:ext uri="{FF2B5EF4-FFF2-40B4-BE49-F238E27FC236}">
                            <a16:creationId xmlns:a16="http://schemas.microsoft.com/office/drawing/2014/main" id="{B1C264F3-ED41-464C-93A8-71BDCB00A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04787" y="-22155"/>
            <a:ext cx="13749257" cy="1553406"/>
          </a:xfrm>
        </p:spPr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  <a:cs typeface="+mn-cs"/>
              </a:rPr>
              <a:t>Identify up to 5 application areas and prioritise them based on your knowledge or assumptions with regards to the dimensions below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486D0163-0FC4-458C-B887-BF55ED889330}"/>
              </a:ext>
            </a:extLst>
          </p:cNvPr>
          <p:cNvSpPr/>
          <p:nvPr/>
        </p:nvSpPr>
        <p:spPr>
          <a:xfrm>
            <a:off x="613028" y="8150193"/>
            <a:ext cx="16845565" cy="945336"/>
          </a:xfrm>
          <a:prstGeom prst="roundRect">
            <a:avLst>
              <a:gd name="adj" fmla="val 1795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endParaRPr lang="en-GB" sz="2100" b="1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44EDC7B4-C1F7-4AD9-902D-A2FCA69BD91C}"/>
              </a:ext>
            </a:extLst>
          </p:cNvPr>
          <p:cNvSpPr/>
          <p:nvPr/>
        </p:nvSpPr>
        <p:spPr>
          <a:xfrm>
            <a:off x="613028" y="7074698"/>
            <a:ext cx="16845565" cy="945333"/>
          </a:xfrm>
          <a:prstGeom prst="roundRect">
            <a:avLst>
              <a:gd name="adj" fmla="val 1795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endParaRPr lang="en-GB" sz="2100" b="1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561BD0A-6929-4DF9-934F-B077A23B8B70}"/>
              </a:ext>
            </a:extLst>
          </p:cNvPr>
          <p:cNvSpPr/>
          <p:nvPr/>
        </p:nvSpPr>
        <p:spPr>
          <a:xfrm>
            <a:off x="563630" y="5958440"/>
            <a:ext cx="16894964" cy="945336"/>
          </a:xfrm>
          <a:prstGeom prst="roundRect">
            <a:avLst>
              <a:gd name="adj" fmla="val 1795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endParaRPr lang="en-GB" sz="2100" b="1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27" name="Abgerundetes Rechteck 18">
            <a:extLst>
              <a:ext uri="{FF2B5EF4-FFF2-40B4-BE49-F238E27FC236}">
                <a16:creationId xmlns:a16="http://schemas.microsoft.com/office/drawing/2014/main" id="{2343A432-E57B-409F-8C21-9666EC4B3F69}"/>
              </a:ext>
            </a:extLst>
          </p:cNvPr>
          <p:cNvSpPr/>
          <p:nvPr/>
        </p:nvSpPr>
        <p:spPr>
          <a:xfrm>
            <a:off x="2999450" y="2382462"/>
            <a:ext cx="2753363" cy="60144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dirty="0">
                <a:solidFill>
                  <a:srgbClr val="FFFFFF"/>
                </a:solidFill>
                <a:latin typeface="Calibri"/>
              </a:rPr>
              <a:t>xxx</a:t>
            </a:r>
            <a:endParaRPr lang="en-GB" sz="2100" baseline="300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2" name="Abgerundetes Rechteck 18">
            <a:extLst>
              <a:ext uri="{FF2B5EF4-FFF2-40B4-BE49-F238E27FC236}">
                <a16:creationId xmlns:a16="http://schemas.microsoft.com/office/drawing/2014/main" id="{877D7145-37EE-74B2-9FC4-F85B774CFFBD}"/>
              </a:ext>
            </a:extLst>
          </p:cNvPr>
          <p:cNvSpPr/>
          <p:nvPr/>
        </p:nvSpPr>
        <p:spPr>
          <a:xfrm>
            <a:off x="2999450" y="3079925"/>
            <a:ext cx="2753363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xxx</a:t>
            </a:r>
          </a:p>
        </p:txBody>
      </p:sp>
      <p:sp>
        <p:nvSpPr>
          <p:cNvPr id="110" name="Abgerundetes Rechteck 18">
            <a:extLst>
              <a:ext uri="{FF2B5EF4-FFF2-40B4-BE49-F238E27FC236}">
                <a16:creationId xmlns:a16="http://schemas.microsoft.com/office/drawing/2014/main" id="{4F7CCDF5-4CF3-7405-E6FB-DAC5999D3896}"/>
              </a:ext>
            </a:extLst>
          </p:cNvPr>
          <p:cNvSpPr/>
          <p:nvPr/>
        </p:nvSpPr>
        <p:spPr>
          <a:xfrm>
            <a:off x="5925895" y="2382462"/>
            <a:ext cx="2753363" cy="60144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dirty="0">
                <a:solidFill>
                  <a:srgbClr val="FFFFFF"/>
                </a:solidFill>
                <a:latin typeface="Calibri"/>
              </a:rPr>
              <a:t>xxx</a:t>
            </a:r>
          </a:p>
        </p:txBody>
      </p:sp>
      <p:sp>
        <p:nvSpPr>
          <p:cNvPr id="111" name="Abgerundetes Rechteck 18">
            <a:extLst>
              <a:ext uri="{FF2B5EF4-FFF2-40B4-BE49-F238E27FC236}">
                <a16:creationId xmlns:a16="http://schemas.microsoft.com/office/drawing/2014/main" id="{9EC16A08-43A4-8614-B1DE-8BE5BFDCD77C}"/>
              </a:ext>
            </a:extLst>
          </p:cNvPr>
          <p:cNvSpPr/>
          <p:nvPr/>
        </p:nvSpPr>
        <p:spPr>
          <a:xfrm>
            <a:off x="5925895" y="3079925"/>
            <a:ext cx="2753363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xxx</a:t>
            </a:r>
          </a:p>
        </p:txBody>
      </p:sp>
      <p:sp>
        <p:nvSpPr>
          <p:cNvPr id="114" name="Abgerundetes Rechteck 18">
            <a:extLst>
              <a:ext uri="{FF2B5EF4-FFF2-40B4-BE49-F238E27FC236}">
                <a16:creationId xmlns:a16="http://schemas.microsoft.com/office/drawing/2014/main" id="{B9D9D74D-2A1D-7381-1CBD-D1CED6DDA8CB}"/>
              </a:ext>
            </a:extLst>
          </p:cNvPr>
          <p:cNvSpPr/>
          <p:nvPr/>
        </p:nvSpPr>
        <p:spPr>
          <a:xfrm>
            <a:off x="8852340" y="2382462"/>
            <a:ext cx="2753363" cy="60144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dirty="0">
                <a:solidFill>
                  <a:srgbClr val="FFFFFF"/>
                </a:solidFill>
                <a:latin typeface="Calibri"/>
              </a:rPr>
              <a:t>xxx</a:t>
            </a:r>
          </a:p>
        </p:txBody>
      </p:sp>
      <p:sp>
        <p:nvSpPr>
          <p:cNvPr id="115" name="Abgerundetes Rechteck 18">
            <a:extLst>
              <a:ext uri="{FF2B5EF4-FFF2-40B4-BE49-F238E27FC236}">
                <a16:creationId xmlns:a16="http://schemas.microsoft.com/office/drawing/2014/main" id="{4020FAA8-193A-DEB7-F3B5-1B13F2532C72}"/>
              </a:ext>
            </a:extLst>
          </p:cNvPr>
          <p:cNvSpPr/>
          <p:nvPr/>
        </p:nvSpPr>
        <p:spPr>
          <a:xfrm>
            <a:off x="8852340" y="3079925"/>
            <a:ext cx="2753363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xxx</a:t>
            </a:r>
          </a:p>
        </p:txBody>
      </p:sp>
      <p:sp>
        <p:nvSpPr>
          <p:cNvPr id="118" name="Abgerundetes Rechteck 18">
            <a:extLst>
              <a:ext uri="{FF2B5EF4-FFF2-40B4-BE49-F238E27FC236}">
                <a16:creationId xmlns:a16="http://schemas.microsoft.com/office/drawing/2014/main" id="{D0FE05E7-D2AF-16C9-030B-D601CF2D7E9E}"/>
              </a:ext>
            </a:extLst>
          </p:cNvPr>
          <p:cNvSpPr/>
          <p:nvPr/>
        </p:nvSpPr>
        <p:spPr>
          <a:xfrm>
            <a:off x="11778785" y="2382462"/>
            <a:ext cx="2753363" cy="60144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dirty="0">
                <a:solidFill>
                  <a:srgbClr val="FFFFFF"/>
                </a:solidFill>
                <a:latin typeface="Calibri"/>
              </a:rPr>
              <a:t>xxx</a:t>
            </a:r>
          </a:p>
        </p:txBody>
      </p:sp>
      <p:sp>
        <p:nvSpPr>
          <p:cNvPr id="119" name="Abgerundetes Rechteck 18">
            <a:extLst>
              <a:ext uri="{FF2B5EF4-FFF2-40B4-BE49-F238E27FC236}">
                <a16:creationId xmlns:a16="http://schemas.microsoft.com/office/drawing/2014/main" id="{0DDD0A33-028B-A4F6-1CC8-86E3C98A68E4}"/>
              </a:ext>
            </a:extLst>
          </p:cNvPr>
          <p:cNvSpPr/>
          <p:nvPr/>
        </p:nvSpPr>
        <p:spPr>
          <a:xfrm>
            <a:off x="11778785" y="3079925"/>
            <a:ext cx="2753363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xxx</a:t>
            </a:r>
          </a:p>
        </p:txBody>
      </p:sp>
      <p:sp>
        <p:nvSpPr>
          <p:cNvPr id="126" name="Abgerundetes Rechteck 18">
            <a:extLst>
              <a:ext uri="{FF2B5EF4-FFF2-40B4-BE49-F238E27FC236}">
                <a16:creationId xmlns:a16="http://schemas.microsoft.com/office/drawing/2014/main" id="{13BB0782-6015-7991-DEF5-6FA6857AC699}"/>
              </a:ext>
            </a:extLst>
          </p:cNvPr>
          <p:cNvSpPr/>
          <p:nvPr/>
        </p:nvSpPr>
        <p:spPr>
          <a:xfrm>
            <a:off x="14705229" y="2382462"/>
            <a:ext cx="2753363" cy="60144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dirty="0">
                <a:solidFill>
                  <a:srgbClr val="FFFFFF"/>
                </a:solidFill>
                <a:latin typeface="Calibri"/>
              </a:rPr>
              <a:t>xxx</a:t>
            </a:r>
          </a:p>
        </p:txBody>
      </p:sp>
      <p:sp>
        <p:nvSpPr>
          <p:cNvPr id="127" name="Abgerundetes Rechteck 18">
            <a:extLst>
              <a:ext uri="{FF2B5EF4-FFF2-40B4-BE49-F238E27FC236}">
                <a16:creationId xmlns:a16="http://schemas.microsoft.com/office/drawing/2014/main" id="{7905EABC-BDF6-C479-6B72-5F9F14142661}"/>
              </a:ext>
            </a:extLst>
          </p:cNvPr>
          <p:cNvSpPr/>
          <p:nvPr/>
        </p:nvSpPr>
        <p:spPr>
          <a:xfrm>
            <a:off x="14705229" y="3079925"/>
            <a:ext cx="2753363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xxx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A7A880-B8D2-5CF0-004F-6C2764D754DC}"/>
              </a:ext>
            </a:extLst>
          </p:cNvPr>
          <p:cNvSpPr/>
          <p:nvPr/>
        </p:nvSpPr>
        <p:spPr>
          <a:xfrm>
            <a:off x="563630" y="5908998"/>
            <a:ext cx="2336570" cy="10621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b="1" dirty="0">
                <a:solidFill>
                  <a:srgbClr val="4B4B4B"/>
                </a:solidFill>
                <a:latin typeface="Calibri"/>
              </a:rPr>
              <a:t>Problem-</a:t>
            </a:r>
            <a:br>
              <a:rPr lang="en-GB" sz="2100" b="1" dirty="0">
                <a:solidFill>
                  <a:srgbClr val="4B4B4B"/>
                </a:solidFill>
                <a:latin typeface="Calibri"/>
              </a:rPr>
            </a:br>
            <a:r>
              <a:rPr lang="en-GB" sz="2100" b="1" dirty="0">
                <a:solidFill>
                  <a:srgbClr val="4B4B4B"/>
                </a:solidFill>
                <a:latin typeface="Calibri"/>
              </a:rPr>
              <a:t>Solution-Fi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5C18E3-9765-013E-0E4A-6B007E87E1CE}"/>
              </a:ext>
            </a:extLst>
          </p:cNvPr>
          <p:cNvSpPr/>
          <p:nvPr/>
        </p:nvSpPr>
        <p:spPr>
          <a:xfrm>
            <a:off x="563630" y="7077619"/>
            <a:ext cx="2336570" cy="10621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b="1" dirty="0">
                <a:solidFill>
                  <a:srgbClr val="4B4B4B"/>
                </a:solidFill>
                <a:latin typeface="Calibri"/>
              </a:rPr>
              <a:t>Market Potenti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F9DF847-4C8A-F679-F0B0-41EC20724793}"/>
              </a:ext>
            </a:extLst>
          </p:cNvPr>
          <p:cNvSpPr/>
          <p:nvPr/>
        </p:nvSpPr>
        <p:spPr>
          <a:xfrm>
            <a:off x="563630" y="8156045"/>
            <a:ext cx="2336570" cy="945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sz="2100" b="1" dirty="0">
                <a:solidFill>
                  <a:srgbClr val="4B4B4B"/>
                </a:solidFill>
                <a:latin typeface="Calibri"/>
              </a:rPr>
              <a:t>Risk Assessmen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895859-D7F2-8F30-2284-A7906A3B3F47}"/>
              </a:ext>
            </a:extLst>
          </p:cNvPr>
          <p:cNvGrpSpPr>
            <a:grpSpLocks noChangeAspect="1"/>
          </p:cNvGrpSpPr>
          <p:nvPr/>
        </p:nvGrpSpPr>
        <p:grpSpPr>
          <a:xfrm rot="19479137">
            <a:off x="12873262" y="9291496"/>
            <a:ext cx="269938" cy="269968"/>
            <a:chOff x="3443561" y="4940205"/>
            <a:chExt cx="325152" cy="325188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008A915-7BD1-278E-47DC-F199E24555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43561" y="4940205"/>
              <a:ext cx="325152" cy="325188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4799" b="1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" name="Arrow: Right 37">
              <a:extLst>
                <a:ext uri="{FF2B5EF4-FFF2-40B4-BE49-F238E27FC236}">
                  <a16:creationId xmlns:a16="http://schemas.microsoft.com/office/drawing/2014/main" id="{8294B77B-5627-92E5-DBF4-9C4A22B874C7}"/>
                </a:ext>
              </a:extLst>
            </p:cNvPr>
            <p:cNvSpPr/>
            <p:nvPr/>
          </p:nvSpPr>
          <p:spPr>
            <a:xfrm>
              <a:off x="3488688" y="5009427"/>
              <a:ext cx="235965" cy="178539"/>
            </a:xfrm>
            <a:prstGeom prst="rightArrow">
              <a:avLst>
                <a:gd name="adj1" fmla="val 43659"/>
                <a:gd name="adj2" fmla="val 6988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3149" dirty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15A9021-D0A8-120C-A385-DB9E33E5B484}"/>
              </a:ext>
            </a:extLst>
          </p:cNvPr>
          <p:cNvGrpSpPr>
            <a:grpSpLocks noChangeAspect="1"/>
          </p:cNvGrpSpPr>
          <p:nvPr/>
        </p:nvGrpSpPr>
        <p:grpSpPr>
          <a:xfrm>
            <a:off x="14530739" y="9291511"/>
            <a:ext cx="269908" cy="269938"/>
            <a:chOff x="3443561" y="4940205"/>
            <a:chExt cx="325152" cy="325188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0DB38A9-B7A7-F617-540B-73C086CC32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43561" y="4940205"/>
              <a:ext cx="325152" cy="3251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4799" b="1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1" name="Arrow: Right 40">
              <a:extLst>
                <a:ext uri="{FF2B5EF4-FFF2-40B4-BE49-F238E27FC236}">
                  <a16:creationId xmlns:a16="http://schemas.microsoft.com/office/drawing/2014/main" id="{4F69C60D-99D0-96BC-2096-E740D9F570D7}"/>
                </a:ext>
              </a:extLst>
            </p:cNvPr>
            <p:cNvSpPr/>
            <p:nvPr/>
          </p:nvSpPr>
          <p:spPr>
            <a:xfrm>
              <a:off x="3488688" y="5009427"/>
              <a:ext cx="235965" cy="178539"/>
            </a:xfrm>
            <a:prstGeom prst="rightArrow">
              <a:avLst>
                <a:gd name="adj1" fmla="val 43659"/>
                <a:gd name="adj2" fmla="val 6988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3149" dirty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F969BC1-9A6E-ABC6-B0CA-D48640226DBD}"/>
              </a:ext>
            </a:extLst>
          </p:cNvPr>
          <p:cNvGrpSpPr>
            <a:grpSpLocks noChangeAspect="1"/>
          </p:cNvGrpSpPr>
          <p:nvPr/>
        </p:nvGrpSpPr>
        <p:grpSpPr>
          <a:xfrm rot="2125329">
            <a:off x="16188187" y="9291496"/>
            <a:ext cx="269938" cy="269968"/>
            <a:chOff x="3443561" y="4940205"/>
            <a:chExt cx="325152" cy="325188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E0EC957-C296-F4F0-C94D-2B7E841E18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43561" y="4940205"/>
              <a:ext cx="325152" cy="3251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4799" b="1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DB947FA0-459E-D909-7F00-0138ED791591}"/>
                </a:ext>
              </a:extLst>
            </p:cNvPr>
            <p:cNvSpPr/>
            <p:nvPr/>
          </p:nvSpPr>
          <p:spPr>
            <a:xfrm>
              <a:off x="3488688" y="5009427"/>
              <a:ext cx="235965" cy="178539"/>
            </a:xfrm>
            <a:prstGeom prst="rightArrow">
              <a:avLst>
                <a:gd name="adj1" fmla="val 43659"/>
                <a:gd name="adj2" fmla="val 6988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632426"/>
              <a:endParaRPr lang="en-GB" sz="3149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A084FD4E-748C-130B-C77D-C6E154C2BBD3}"/>
              </a:ext>
            </a:extLst>
          </p:cNvPr>
          <p:cNvSpPr/>
          <p:nvPr/>
        </p:nvSpPr>
        <p:spPr>
          <a:xfrm>
            <a:off x="14777344" y="9210320"/>
            <a:ext cx="1434147" cy="432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r>
              <a:rPr lang="en-US" sz="1350" dirty="0">
                <a:solidFill>
                  <a:srgbClr val="4B4B4B"/>
                </a:solidFill>
                <a:latin typeface="Calibri"/>
              </a:rPr>
              <a:t>=  Average</a:t>
            </a:r>
            <a:endParaRPr lang="en-GB" sz="1350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2127A02-BBF3-1003-A954-0B84DF6A88BC}"/>
              </a:ext>
            </a:extLst>
          </p:cNvPr>
          <p:cNvSpPr/>
          <p:nvPr/>
        </p:nvSpPr>
        <p:spPr>
          <a:xfrm>
            <a:off x="13119897" y="9210320"/>
            <a:ext cx="1434147" cy="432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r>
              <a:rPr lang="en-US" sz="1350" dirty="0">
                <a:solidFill>
                  <a:srgbClr val="4B4B4B"/>
                </a:solidFill>
                <a:latin typeface="Calibri"/>
              </a:rPr>
              <a:t>=  Good</a:t>
            </a:r>
            <a:endParaRPr lang="en-GB" sz="1350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991302A-D3FB-D8B8-BC55-1FA2240FB24A}"/>
              </a:ext>
            </a:extLst>
          </p:cNvPr>
          <p:cNvSpPr/>
          <p:nvPr/>
        </p:nvSpPr>
        <p:spPr>
          <a:xfrm>
            <a:off x="16434822" y="9210320"/>
            <a:ext cx="1434147" cy="432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632426"/>
            <a:r>
              <a:rPr lang="en-US" sz="1350" dirty="0">
                <a:solidFill>
                  <a:srgbClr val="4B4B4B"/>
                </a:solidFill>
                <a:latin typeface="Calibri"/>
              </a:rPr>
              <a:t>=  Bad</a:t>
            </a:r>
            <a:endParaRPr lang="en-GB" sz="1350" dirty="0">
              <a:solidFill>
                <a:srgbClr val="4B4B4B"/>
              </a:solidFill>
              <a:latin typeface="Calibri"/>
            </a:endParaRP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E1C9E90C-633C-4996-97F5-0C14C211D0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4094" y="1579930"/>
            <a:ext cx="16664498" cy="486000"/>
          </a:xfrm>
        </p:spPr>
        <p:txBody>
          <a:bodyPr>
            <a:noAutofit/>
          </a:bodyPr>
          <a:lstStyle>
            <a:lvl1pPr marL="0" indent="0">
              <a:lnSpc>
                <a:spcPts val="2738"/>
              </a:lnSpc>
              <a:spcBef>
                <a:spcPts val="0"/>
              </a:spcBef>
              <a:buNone/>
              <a:defRPr sz="2000" b="1" baseline="0">
                <a:latin typeface="+mn-lt"/>
              </a:defRPr>
            </a:lvl1pPr>
            <a:lvl2pPr marL="532912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2pPr>
            <a:lvl3pPr marL="748345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3pPr>
            <a:lvl4pPr marL="963778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4pPr>
            <a:lvl5pPr marL="1179210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5pPr>
          </a:lstStyle>
          <a:p>
            <a:r>
              <a:rPr lang="en-GB" sz="3000" dirty="0"/>
              <a:t>Practice</a:t>
            </a:r>
          </a:p>
        </p:txBody>
      </p:sp>
      <p:sp>
        <p:nvSpPr>
          <p:cNvPr id="87" name="Abgerundetes Rechteck 18">
            <a:extLst>
              <a:ext uri="{FF2B5EF4-FFF2-40B4-BE49-F238E27FC236}">
                <a16:creationId xmlns:a16="http://schemas.microsoft.com/office/drawing/2014/main" id="{877D7145-37EE-74B2-9FC4-F85B774CFFBD}"/>
              </a:ext>
            </a:extLst>
          </p:cNvPr>
          <p:cNvSpPr/>
          <p:nvPr/>
        </p:nvSpPr>
        <p:spPr>
          <a:xfrm>
            <a:off x="580808" y="3079925"/>
            <a:ext cx="2245559" cy="2782795"/>
          </a:xfrm>
          <a:prstGeom prst="roundRect">
            <a:avLst>
              <a:gd name="adj" fmla="val 64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4B4B4B"/>
                </a:solidFill>
                <a:latin typeface="Calibri"/>
              </a:rPr>
              <a:t>Use Cases</a:t>
            </a:r>
          </a:p>
        </p:txBody>
      </p:sp>
      <p:sp>
        <p:nvSpPr>
          <p:cNvPr id="88" name="Abgerundetes Rechteck 18">
            <a:extLst>
              <a:ext uri="{FF2B5EF4-FFF2-40B4-BE49-F238E27FC236}">
                <a16:creationId xmlns:a16="http://schemas.microsoft.com/office/drawing/2014/main" id="{877D7145-37EE-74B2-9FC4-F85B774CFFBD}"/>
              </a:ext>
            </a:extLst>
          </p:cNvPr>
          <p:cNvSpPr/>
          <p:nvPr/>
        </p:nvSpPr>
        <p:spPr>
          <a:xfrm>
            <a:off x="580808" y="2382463"/>
            <a:ext cx="2245559" cy="591006"/>
          </a:xfrm>
          <a:prstGeom prst="roundRect">
            <a:avLst>
              <a:gd name="adj" fmla="val 6404"/>
            </a:avLst>
          </a:prstGeom>
          <a:solidFill>
            <a:srgbClr val="1F84B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32426"/>
            <a:r>
              <a:rPr lang="en-GB" dirty="0">
                <a:solidFill>
                  <a:srgbClr val="FFFFFF"/>
                </a:solidFill>
                <a:latin typeface="Calibri"/>
              </a:rPr>
              <a:t>Application Area</a:t>
            </a:r>
          </a:p>
        </p:txBody>
      </p:sp>
    </p:spTree>
    <p:extLst>
      <p:ext uri="{BB962C8B-B14F-4D97-AF65-F5344CB8AC3E}">
        <p14:creationId xmlns:p14="http://schemas.microsoft.com/office/powerpoint/2010/main" val="264718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A5NFZTvK0BHfOFtZQ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A5NFZTvK0BHfOFtZQ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A5NFZTvK0BHfOFtZQ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LLGEMEIN">
  <a:themeElements>
    <a:clrScheme name="Artineo">
      <a:dk1>
        <a:srgbClr val="4B4B4B"/>
      </a:dk1>
      <a:lt1>
        <a:srgbClr val="FFFFFF"/>
      </a:lt1>
      <a:dk2>
        <a:srgbClr val="878787"/>
      </a:dk2>
      <a:lt2>
        <a:srgbClr val="FFFFFF"/>
      </a:lt2>
      <a:accent1>
        <a:srgbClr val="0A73B4"/>
      </a:accent1>
      <a:accent2>
        <a:srgbClr val="37AADC"/>
      </a:accent2>
      <a:accent3>
        <a:srgbClr val="B4C800"/>
      </a:accent3>
      <a:accent4>
        <a:srgbClr val="FFDC05"/>
      </a:accent4>
      <a:accent5>
        <a:srgbClr val="FF7D00"/>
      </a:accent5>
      <a:accent6>
        <a:srgbClr val="B40000"/>
      </a:accent6>
      <a:hlink>
        <a:srgbClr val="0A73B4"/>
      </a:hlink>
      <a:folHlink>
        <a:srgbClr val="37AAD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0</TotalTime>
  <Words>98</Words>
  <Application>Microsoft Office PowerPoint</Application>
  <PresentationFormat>Personalizado</PresentationFormat>
  <Paragraphs>34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3" baseType="lpstr">
      <vt:lpstr>Aptos</vt:lpstr>
      <vt:lpstr>Wingdings</vt:lpstr>
      <vt:lpstr>Symbol</vt:lpstr>
      <vt:lpstr>Bebas Neue</vt:lpstr>
      <vt:lpstr>Titillium Web Bold</vt:lpstr>
      <vt:lpstr>Arial</vt:lpstr>
      <vt:lpstr>Calibri</vt:lpstr>
      <vt:lpstr>Office Theme</vt:lpstr>
      <vt:lpstr>ALLGEMEIN</vt:lpstr>
      <vt:lpstr>Diapositiva de think-cell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18</cp:revision>
  <dcterms:created xsi:type="dcterms:W3CDTF">2006-08-16T00:00:00Z</dcterms:created>
  <dcterms:modified xsi:type="dcterms:W3CDTF">2024-08-26T14:44:58Z</dcterms:modified>
  <dc:identifier>DAGIHpOa55U</dc:identifier>
</cp:coreProperties>
</file>